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82" r:id="rId5"/>
    <p:sldId id="367" r:id="rId6"/>
    <p:sldId id="363" r:id="rId7"/>
    <p:sldId id="368" r:id="rId8"/>
    <p:sldId id="365" r:id="rId9"/>
  </p:sldIdLst>
  <p:sldSz cx="12192000" cy="6858000"/>
  <p:notesSz cx="6858000" cy="170497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DAD3"/>
    <a:srgbClr val="77AF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820639-6991-4B10-89C2-6CE0476F5864}" v="329" dt="2019-12-18T15:07:12.392"/>
  </p1510:revLst>
</p1510:revInfo>
</file>

<file path=ppt/tableStyles.xml><?xml version="1.0" encoding="utf-8"?>
<a:tblStyleLst xmlns:a="http://schemas.openxmlformats.org/drawingml/2006/main" def="{6E25E649-3F16-4E02-A733-19D2CDBF48F0}"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6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76F666D-E0C2-435B-BAA8-9287F9E5D38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FEBCAF-CB3F-4928-91AA-D61472F880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1077DB-935E-4A0A-947A-D283B9F9F452}" type="datetimeFigureOut">
              <a:rPr lang="en-US" smtClean="0"/>
              <a:t>12/1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56698-63C6-4CCC-81CB-EA5604C30F1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67FDA-05D7-4760-A373-5D6AEAAF427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2C0B10-7CAE-41E4-AB02-7E8B1FF2B8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537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9EC30E-1A71-4188-9BE7-E2A64929A436}" type="datetimeFigureOut">
              <a:rPr lang="en-US" noProof="0" smtClean="0"/>
              <a:t>12/18/2019</a:t>
            </a:fld>
            <a:endParaRPr lang="en-US" noProof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30193B-564F-4854-8A52-728F3FB19C85}" type="slidenum">
              <a:rPr lang="en-US" noProof="0" smtClean="0"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03816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Our solution, where </a:t>
            </a:r>
            <a:r>
              <a:rPr lang="en-US" dirty="0" err="1">
                <a:cs typeface="Calibri"/>
              </a:rPr>
              <a:t>automization</a:t>
            </a:r>
            <a:r>
              <a:rPr lang="en-US" dirty="0">
                <a:cs typeface="Calibri"/>
              </a:rPr>
              <a:t>, AI and people go hand in hand to efficiently improve the whole process</a:t>
            </a:r>
          </a:p>
          <a:p>
            <a:r>
              <a:rPr lang="en-US" dirty="0">
                <a:cs typeface="Calibri"/>
              </a:rPr>
              <a:t>- 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30193B-564F-4854-8A52-728F3FB19C85}" type="slidenum">
              <a:rPr lang="en-US" noProof="0" smtClean="0"/>
              <a:t>3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70374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10727B06-56A8-44A2-B6C2-9ED183D107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47F3D0-41FC-4430-9F9E-1F78A18D65F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ED798F6-1F12-46CE-9AFD-CC66555A191D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1505855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D31C544-1372-4B34-8149-B6058B8CC577}"/>
              </a:ext>
            </a:extLst>
          </p:cNvPr>
          <p:cNvSpPr/>
          <p:nvPr userDrawn="1"/>
        </p:nvSpPr>
        <p:spPr>
          <a:xfrm>
            <a:off x="11793520" y="0"/>
            <a:ext cx="35276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2598CA-3443-4098-80E7-1F16DC9A13CC}"/>
              </a:ext>
            </a:extLst>
          </p:cNvPr>
          <p:cNvSpPr/>
          <p:nvPr userDrawn="1"/>
        </p:nvSpPr>
        <p:spPr>
          <a:xfrm rot="5400000">
            <a:off x="8740140" y="3406142"/>
            <a:ext cx="6857999" cy="45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E421EAA-68E8-4AED-BA2F-01A6AC66859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655455" cy="6858000"/>
          </a:xfrm>
          <a:custGeom>
            <a:avLst/>
            <a:gdLst>
              <a:gd name="connsiteX0" fmla="*/ 8526285 w 10655455"/>
              <a:gd name="connsiteY0" fmla="*/ 6283111 h 6858000"/>
              <a:gd name="connsiteX1" fmla="*/ 10157124 w 10655455"/>
              <a:gd name="connsiteY1" fmla="*/ 6283111 h 6858000"/>
              <a:gd name="connsiteX2" fmla="*/ 10407209 w 10655455"/>
              <a:gd name="connsiteY2" fmla="*/ 6430504 h 6858000"/>
              <a:gd name="connsiteX3" fmla="*/ 10606716 w 10655455"/>
              <a:gd name="connsiteY3" fmla="*/ 6774068 h 6858000"/>
              <a:gd name="connsiteX4" fmla="*/ 10655455 w 10655455"/>
              <a:gd name="connsiteY4" fmla="*/ 6858000 h 6858000"/>
              <a:gd name="connsiteX5" fmla="*/ 8025501 w 10655455"/>
              <a:gd name="connsiteY5" fmla="*/ 6858000 h 6858000"/>
              <a:gd name="connsiteX6" fmla="*/ 8129453 w 10655455"/>
              <a:gd name="connsiteY6" fmla="*/ 6678214 h 6858000"/>
              <a:gd name="connsiteX7" fmla="*/ 8272677 w 10655455"/>
              <a:gd name="connsiteY7" fmla="*/ 6430504 h 6858000"/>
              <a:gd name="connsiteX8" fmla="*/ 8526285 w 10655455"/>
              <a:gd name="connsiteY8" fmla="*/ 6283111 h 6858000"/>
              <a:gd name="connsiteX9" fmla="*/ 8508611 w 10655455"/>
              <a:gd name="connsiteY9" fmla="*/ 4776272 h 6858000"/>
              <a:gd name="connsiteX10" fmla="*/ 9153763 w 10655455"/>
              <a:gd name="connsiteY10" fmla="*/ 4776272 h 6858000"/>
              <a:gd name="connsiteX11" fmla="*/ 9252696 w 10655455"/>
              <a:gd name="connsiteY11" fmla="*/ 4834580 h 6858000"/>
              <a:gd name="connsiteX12" fmla="*/ 9575969 w 10655455"/>
              <a:gd name="connsiteY12" fmla="*/ 5391278 h 6858000"/>
              <a:gd name="connsiteX13" fmla="*/ 9575969 w 10655455"/>
              <a:gd name="connsiteY13" fmla="*/ 5505116 h 6858000"/>
              <a:gd name="connsiteX14" fmla="*/ 9252696 w 10655455"/>
              <a:gd name="connsiteY14" fmla="*/ 6061815 h 6858000"/>
              <a:gd name="connsiteX15" fmla="*/ 9153763 w 10655455"/>
              <a:gd name="connsiteY15" fmla="*/ 6120122 h 6858000"/>
              <a:gd name="connsiteX16" fmla="*/ 8508611 w 10655455"/>
              <a:gd name="connsiteY16" fmla="*/ 6120122 h 6858000"/>
              <a:gd name="connsiteX17" fmla="*/ 8408284 w 10655455"/>
              <a:gd name="connsiteY17" fmla="*/ 6061815 h 6858000"/>
              <a:gd name="connsiteX18" fmla="*/ 8086404 w 10655455"/>
              <a:gd name="connsiteY18" fmla="*/ 5505116 h 6858000"/>
              <a:gd name="connsiteX19" fmla="*/ 8086404 w 10655455"/>
              <a:gd name="connsiteY19" fmla="*/ 5391278 h 6858000"/>
              <a:gd name="connsiteX20" fmla="*/ 8408284 w 10655455"/>
              <a:gd name="connsiteY20" fmla="*/ 4834580 h 6858000"/>
              <a:gd name="connsiteX21" fmla="*/ 8508611 w 10655455"/>
              <a:gd name="connsiteY21" fmla="*/ 4776272 h 6858000"/>
              <a:gd name="connsiteX22" fmla="*/ 8438383 w 10655455"/>
              <a:gd name="connsiteY22" fmla="*/ 4182594 h 6858000"/>
              <a:gd name="connsiteX23" fmla="*/ 8671249 w 10655455"/>
              <a:gd name="connsiteY23" fmla="*/ 4182594 h 6858000"/>
              <a:gd name="connsiteX24" fmla="*/ 8706958 w 10655455"/>
              <a:gd name="connsiteY24" fmla="*/ 4203640 h 6858000"/>
              <a:gd name="connsiteX25" fmla="*/ 8823642 w 10655455"/>
              <a:gd name="connsiteY25" fmla="*/ 4404579 h 6858000"/>
              <a:gd name="connsiteX26" fmla="*/ 8823642 w 10655455"/>
              <a:gd name="connsiteY26" fmla="*/ 4445668 h 6858000"/>
              <a:gd name="connsiteX27" fmla="*/ 8706958 w 10655455"/>
              <a:gd name="connsiteY27" fmla="*/ 4646606 h 6858000"/>
              <a:gd name="connsiteX28" fmla="*/ 8671249 w 10655455"/>
              <a:gd name="connsiteY28" fmla="*/ 4667652 h 6858000"/>
              <a:gd name="connsiteX29" fmla="*/ 8438383 w 10655455"/>
              <a:gd name="connsiteY29" fmla="*/ 4667652 h 6858000"/>
              <a:gd name="connsiteX30" fmla="*/ 8402170 w 10655455"/>
              <a:gd name="connsiteY30" fmla="*/ 4646606 h 6858000"/>
              <a:gd name="connsiteX31" fmla="*/ 8285989 w 10655455"/>
              <a:gd name="connsiteY31" fmla="*/ 4445668 h 6858000"/>
              <a:gd name="connsiteX32" fmla="*/ 8285989 w 10655455"/>
              <a:gd name="connsiteY32" fmla="*/ 4404579 h 6858000"/>
              <a:gd name="connsiteX33" fmla="*/ 8402170 w 10655455"/>
              <a:gd name="connsiteY33" fmla="*/ 4203640 h 6858000"/>
              <a:gd name="connsiteX34" fmla="*/ 8438383 w 10655455"/>
              <a:gd name="connsiteY34" fmla="*/ 4182594 h 6858000"/>
              <a:gd name="connsiteX35" fmla="*/ 7678681 w 10655455"/>
              <a:gd name="connsiteY35" fmla="*/ 3459104 h 6858000"/>
              <a:gd name="connsiteX36" fmla="*/ 8119685 w 10655455"/>
              <a:gd name="connsiteY36" fmla="*/ 3459104 h 6858000"/>
              <a:gd name="connsiteX37" fmla="*/ 8187313 w 10655455"/>
              <a:gd name="connsiteY37" fmla="*/ 3498961 h 6858000"/>
              <a:gd name="connsiteX38" fmla="*/ 8408292 w 10655455"/>
              <a:gd name="connsiteY38" fmla="*/ 3879501 h 6858000"/>
              <a:gd name="connsiteX39" fmla="*/ 8408292 w 10655455"/>
              <a:gd name="connsiteY39" fmla="*/ 3957318 h 6858000"/>
              <a:gd name="connsiteX40" fmla="*/ 8187313 w 10655455"/>
              <a:gd name="connsiteY40" fmla="*/ 4337857 h 6858000"/>
              <a:gd name="connsiteX41" fmla="*/ 8119685 w 10655455"/>
              <a:gd name="connsiteY41" fmla="*/ 4377714 h 6858000"/>
              <a:gd name="connsiteX42" fmla="*/ 7678681 w 10655455"/>
              <a:gd name="connsiteY42" fmla="*/ 4377714 h 6858000"/>
              <a:gd name="connsiteX43" fmla="*/ 7610101 w 10655455"/>
              <a:gd name="connsiteY43" fmla="*/ 4337857 h 6858000"/>
              <a:gd name="connsiteX44" fmla="*/ 7390076 w 10655455"/>
              <a:gd name="connsiteY44" fmla="*/ 3957318 h 6858000"/>
              <a:gd name="connsiteX45" fmla="*/ 7390076 w 10655455"/>
              <a:gd name="connsiteY45" fmla="*/ 3879501 h 6858000"/>
              <a:gd name="connsiteX46" fmla="*/ 7610101 w 10655455"/>
              <a:gd name="connsiteY46" fmla="*/ 3498961 h 6858000"/>
              <a:gd name="connsiteX47" fmla="*/ 7678681 w 10655455"/>
              <a:gd name="connsiteY47" fmla="*/ 3459104 h 6858000"/>
              <a:gd name="connsiteX48" fmla="*/ 9108816 w 10655455"/>
              <a:gd name="connsiteY48" fmla="*/ 2082751 h 6858000"/>
              <a:gd name="connsiteX49" fmla="*/ 9876937 w 10655455"/>
              <a:gd name="connsiteY49" fmla="*/ 2082751 h 6858000"/>
              <a:gd name="connsiteX50" fmla="*/ 9994727 w 10655455"/>
              <a:gd name="connsiteY50" fmla="*/ 2152172 h 6858000"/>
              <a:gd name="connsiteX51" fmla="*/ 10379617 w 10655455"/>
              <a:gd name="connsiteY51" fmla="*/ 2814978 h 6858000"/>
              <a:gd name="connsiteX52" fmla="*/ 10379617 w 10655455"/>
              <a:gd name="connsiteY52" fmla="*/ 2950515 h 6858000"/>
              <a:gd name="connsiteX53" fmla="*/ 9994727 w 10655455"/>
              <a:gd name="connsiteY53" fmla="*/ 3613321 h 6858000"/>
              <a:gd name="connsiteX54" fmla="*/ 9876937 w 10655455"/>
              <a:gd name="connsiteY54" fmla="*/ 3682742 h 6858000"/>
              <a:gd name="connsiteX55" fmla="*/ 9108816 w 10655455"/>
              <a:gd name="connsiteY55" fmla="*/ 3682742 h 6858000"/>
              <a:gd name="connsiteX56" fmla="*/ 8989367 w 10655455"/>
              <a:gd name="connsiteY56" fmla="*/ 3613321 h 6858000"/>
              <a:gd name="connsiteX57" fmla="*/ 8606137 w 10655455"/>
              <a:gd name="connsiteY57" fmla="*/ 2950515 h 6858000"/>
              <a:gd name="connsiteX58" fmla="*/ 8606137 w 10655455"/>
              <a:gd name="connsiteY58" fmla="*/ 2814978 h 6858000"/>
              <a:gd name="connsiteX59" fmla="*/ 8989367 w 10655455"/>
              <a:gd name="connsiteY59" fmla="*/ 2152172 h 6858000"/>
              <a:gd name="connsiteX60" fmla="*/ 9108816 w 10655455"/>
              <a:gd name="connsiteY60" fmla="*/ 2082751 h 6858000"/>
              <a:gd name="connsiteX61" fmla="*/ 1321854 w 10655455"/>
              <a:gd name="connsiteY61" fmla="*/ 2071857 h 6858000"/>
              <a:gd name="connsiteX62" fmla="*/ 5365317 w 10655455"/>
              <a:gd name="connsiteY62" fmla="*/ 2071857 h 6858000"/>
              <a:gd name="connsiteX63" fmla="*/ 5985373 w 10655455"/>
              <a:gd name="connsiteY63" fmla="*/ 2437296 h 6858000"/>
              <a:gd name="connsiteX64" fmla="*/ 8011470 w 10655455"/>
              <a:gd name="connsiteY64" fmla="*/ 5926372 h 6858000"/>
              <a:gd name="connsiteX65" fmla="*/ 8011470 w 10655455"/>
              <a:gd name="connsiteY65" fmla="*/ 6639850 h 6858000"/>
              <a:gd name="connsiteX66" fmla="*/ 7904625 w 10655455"/>
              <a:gd name="connsiteY66" fmla="*/ 6823844 h 6858000"/>
              <a:gd name="connsiteX67" fmla="*/ 7884791 w 10655455"/>
              <a:gd name="connsiteY67" fmla="*/ 6858000 h 6858000"/>
              <a:gd name="connsiteX68" fmla="*/ 0 w 10655455"/>
              <a:gd name="connsiteY68" fmla="*/ 6858000 h 6858000"/>
              <a:gd name="connsiteX69" fmla="*/ 0 w 10655455"/>
              <a:gd name="connsiteY69" fmla="*/ 3635967 h 6858000"/>
              <a:gd name="connsiteX70" fmla="*/ 27177 w 10655455"/>
              <a:gd name="connsiteY70" fmla="*/ 3588964 h 6858000"/>
              <a:gd name="connsiteX71" fmla="*/ 693065 w 10655455"/>
              <a:gd name="connsiteY71" fmla="*/ 2437296 h 6858000"/>
              <a:gd name="connsiteX72" fmla="*/ 1321854 w 10655455"/>
              <a:gd name="connsiteY72" fmla="*/ 2071857 h 6858000"/>
              <a:gd name="connsiteX73" fmla="*/ 6786399 w 10655455"/>
              <a:gd name="connsiteY73" fmla="*/ 753840 h 6858000"/>
              <a:gd name="connsiteX74" fmla="*/ 8025968 w 10655455"/>
              <a:gd name="connsiteY74" fmla="*/ 753840 h 6858000"/>
              <a:gd name="connsiteX75" fmla="*/ 8216053 w 10655455"/>
              <a:gd name="connsiteY75" fmla="*/ 865869 h 6858000"/>
              <a:gd name="connsiteX76" fmla="*/ 8837177 w 10655455"/>
              <a:gd name="connsiteY76" fmla="*/ 1935484 h 6858000"/>
              <a:gd name="connsiteX77" fmla="*/ 8837177 w 10655455"/>
              <a:gd name="connsiteY77" fmla="*/ 2154207 h 6858000"/>
              <a:gd name="connsiteX78" fmla="*/ 8216053 w 10655455"/>
              <a:gd name="connsiteY78" fmla="*/ 3223823 h 6858000"/>
              <a:gd name="connsiteX79" fmla="*/ 8025968 w 10655455"/>
              <a:gd name="connsiteY79" fmla="*/ 3335852 h 6858000"/>
              <a:gd name="connsiteX80" fmla="*/ 6786399 w 10655455"/>
              <a:gd name="connsiteY80" fmla="*/ 3335852 h 6858000"/>
              <a:gd name="connsiteX81" fmla="*/ 6593637 w 10655455"/>
              <a:gd name="connsiteY81" fmla="*/ 3223823 h 6858000"/>
              <a:gd name="connsiteX82" fmla="*/ 5975192 w 10655455"/>
              <a:gd name="connsiteY82" fmla="*/ 2154207 h 6858000"/>
              <a:gd name="connsiteX83" fmla="*/ 5975192 w 10655455"/>
              <a:gd name="connsiteY83" fmla="*/ 1935484 h 6858000"/>
              <a:gd name="connsiteX84" fmla="*/ 6593637 w 10655455"/>
              <a:gd name="connsiteY84" fmla="*/ 865869 h 6858000"/>
              <a:gd name="connsiteX85" fmla="*/ 6786399 w 10655455"/>
              <a:gd name="connsiteY85" fmla="*/ 753840 h 6858000"/>
              <a:gd name="connsiteX86" fmla="*/ 0 w 10655455"/>
              <a:gd name="connsiteY86" fmla="*/ 0 h 6858000"/>
              <a:gd name="connsiteX87" fmla="*/ 6966294 w 10655455"/>
              <a:gd name="connsiteY87" fmla="*/ 0 h 6858000"/>
              <a:gd name="connsiteX88" fmla="*/ 6852387 w 10655455"/>
              <a:gd name="connsiteY88" fmla="*/ 196155 h 6858000"/>
              <a:gd name="connsiteX89" fmla="*/ 6043321 w 10655455"/>
              <a:gd name="connsiteY89" fmla="*/ 1589421 h 6858000"/>
              <a:gd name="connsiteX90" fmla="*/ 5423265 w 10655455"/>
              <a:gd name="connsiteY90" fmla="*/ 1954861 h 6858000"/>
              <a:gd name="connsiteX91" fmla="*/ 1379802 w 10655455"/>
              <a:gd name="connsiteY91" fmla="*/ 1954861 h 6858000"/>
              <a:gd name="connsiteX92" fmla="*/ 751013 w 10655455"/>
              <a:gd name="connsiteY92" fmla="*/ 1589421 h 6858000"/>
              <a:gd name="connsiteX93" fmla="*/ 1951 w 10655455"/>
              <a:gd name="connsiteY93" fmla="*/ 293901 h 6858000"/>
              <a:gd name="connsiteX94" fmla="*/ 0 w 10655455"/>
              <a:gd name="connsiteY94" fmla="*/ 29052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0655455" h="6858000">
                <a:moveTo>
                  <a:pt x="8526285" y="6283111"/>
                </a:moveTo>
                <a:cubicBezTo>
                  <a:pt x="8526285" y="6283111"/>
                  <a:pt x="8526285" y="6283111"/>
                  <a:pt x="10157124" y="6283111"/>
                </a:cubicBezTo>
                <a:cubicBezTo>
                  <a:pt x="10259271" y="6283111"/>
                  <a:pt x="10357896" y="6339261"/>
                  <a:pt x="10407209" y="6430504"/>
                </a:cubicBezTo>
                <a:cubicBezTo>
                  <a:pt x="10407209" y="6430504"/>
                  <a:pt x="10407209" y="6430504"/>
                  <a:pt x="10606716" y="6774068"/>
                </a:cubicBezTo>
                <a:lnTo>
                  <a:pt x="10655455" y="6858000"/>
                </a:lnTo>
                <a:lnTo>
                  <a:pt x="8025501" y="6858000"/>
                </a:lnTo>
                <a:lnTo>
                  <a:pt x="8129453" y="6678214"/>
                </a:lnTo>
                <a:cubicBezTo>
                  <a:pt x="8174148" y="6600912"/>
                  <a:pt x="8221824" y="6518457"/>
                  <a:pt x="8272677" y="6430504"/>
                </a:cubicBezTo>
                <a:cubicBezTo>
                  <a:pt x="8325512" y="6339261"/>
                  <a:pt x="8420615" y="6283111"/>
                  <a:pt x="8526285" y="6283111"/>
                </a:cubicBezTo>
                <a:close/>
                <a:moveTo>
                  <a:pt x="8508611" y="4776272"/>
                </a:moveTo>
                <a:cubicBezTo>
                  <a:pt x="8508611" y="4776272"/>
                  <a:pt x="8508611" y="4776272"/>
                  <a:pt x="9153763" y="4776272"/>
                </a:cubicBezTo>
                <a:cubicBezTo>
                  <a:pt x="9194173" y="4776272"/>
                  <a:pt x="9233188" y="4798484"/>
                  <a:pt x="9252696" y="4834580"/>
                </a:cubicBezTo>
                <a:cubicBezTo>
                  <a:pt x="9252696" y="4834580"/>
                  <a:pt x="9252696" y="4834580"/>
                  <a:pt x="9575969" y="5391278"/>
                </a:cubicBezTo>
                <a:cubicBezTo>
                  <a:pt x="9596871" y="5425985"/>
                  <a:pt x="9596871" y="5470409"/>
                  <a:pt x="9575969" y="5505116"/>
                </a:cubicBezTo>
                <a:cubicBezTo>
                  <a:pt x="9575969" y="5505116"/>
                  <a:pt x="9575969" y="5505116"/>
                  <a:pt x="9252696" y="6061815"/>
                </a:cubicBezTo>
                <a:cubicBezTo>
                  <a:pt x="9233188" y="6097909"/>
                  <a:pt x="9194173" y="6120122"/>
                  <a:pt x="9153763" y="6120122"/>
                </a:cubicBezTo>
                <a:cubicBezTo>
                  <a:pt x="9153763" y="6120122"/>
                  <a:pt x="9153763" y="6120122"/>
                  <a:pt x="8508611" y="6120122"/>
                </a:cubicBezTo>
                <a:cubicBezTo>
                  <a:pt x="8466808" y="6120122"/>
                  <a:pt x="8429186" y="6097909"/>
                  <a:pt x="8408284" y="6061815"/>
                </a:cubicBezTo>
                <a:cubicBezTo>
                  <a:pt x="8408284" y="6061815"/>
                  <a:pt x="8408284" y="6061815"/>
                  <a:pt x="8086404" y="5505116"/>
                </a:cubicBezTo>
                <a:cubicBezTo>
                  <a:pt x="8065503" y="5470409"/>
                  <a:pt x="8065503" y="5425985"/>
                  <a:pt x="8086404" y="5391278"/>
                </a:cubicBezTo>
                <a:cubicBezTo>
                  <a:pt x="8086404" y="5391278"/>
                  <a:pt x="8086404" y="5391278"/>
                  <a:pt x="8408284" y="4834580"/>
                </a:cubicBezTo>
                <a:cubicBezTo>
                  <a:pt x="8429186" y="4798484"/>
                  <a:pt x="8466808" y="4776272"/>
                  <a:pt x="8508611" y="4776272"/>
                </a:cubicBezTo>
                <a:close/>
                <a:moveTo>
                  <a:pt x="8438383" y="4182594"/>
                </a:moveTo>
                <a:cubicBezTo>
                  <a:pt x="8438383" y="4182594"/>
                  <a:pt x="8438383" y="4182594"/>
                  <a:pt x="8671249" y="4182594"/>
                </a:cubicBezTo>
                <a:cubicBezTo>
                  <a:pt x="8685834" y="4182594"/>
                  <a:pt x="8699916" y="4190612"/>
                  <a:pt x="8706958" y="4203640"/>
                </a:cubicBezTo>
                <a:cubicBezTo>
                  <a:pt x="8706958" y="4203640"/>
                  <a:pt x="8706958" y="4203640"/>
                  <a:pt x="8823642" y="4404579"/>
                </a:cubicBezTo>
                <a:cubicBezTo>
                  <a:pt x="8831187" y="4417106"/>
                  <a:pt x="8831187" y="4433141"/>
                  <a:pt x="8823642" y="4445668"/>
                </a:cubicBezTo>
                <a:cubicBezTo>
                  <a:pt x="8823642" y="4445668"/>
                  <a:pt x="8823642" y="4445668"/>
                  <a:pt x="8706958" y="4646606"/>
                </a:cubicBezTo>
                <a:cubicBezTo>
                  <a:pt x="8699916" y="4659635"/>
                  <a:pt x="8685834" y="4667652"/>
                  <a:pt x="8671249" y="4667652"/>
                </a:cubicBezTo>
                <a:cubicBezTo>
                  <a:pt x="8671249" y="4667652"/>
                  <a:pt x="8671249" y="4667652"/>
                  <a:pt x="8438383" y="4667652"/>
                </a:cubicBezTo>
                <a:cubicBezTo>
                  <a:pt x="8423295" y="4667652"/>
                  <a:pt x="8409715" y="4659635"/>
                  <a:pt x="8402170" y="4646606"/>
                </a:cubicBezTo>
                <a:cubicBezTo>
                  <a:pt x="8402170" y="4646606"/>
                  <a:pt x="8402170" y="4646606"/>
                  <a:pt x="8285989" y="4445668"/>
                </a:cubicBezTo>
                <a:cubicBezTo>
                  <a:pt x="8278445" y="4433141"/>
                  <a:pt x="8278445" y="4417106"/>
                  <a:pt x="8285989" y="4404579"/>
                </a:cubicBezTo>
                <a:cubicBezTo>
                  <a:pt x="8285989" y="4404579"/>
                  <a:pt x="8285989" y="4404579"/>
                  <a:pt x="8402170" y="4203640"/>
                </a:cubicBezTo>
                <a:cubicBezTo>
                  <a:pt x="8409715" y="4190612"/>
                  <a:pt x="8423295" y="4182594"/>
                  <a:pt x="8438383" y="4182594"/>
                </a:cubicBezTo>
                <a:close/>
                <a:moveTo>
                  <a:pt x="7678681" y="3459104"/>
                </a:moveTo>
                <a:cubicBezTo>
                  <a:pt x="7678681" y="3459104"/>
                  <a:pt x="7678681" y="3459104"/>
                  <a:pt x="8119685" y="3459104"/>
                </a:cubicBezTo>
                <a:cubicBezTo>
                  <a:pt x="8147308" y="3459104"/>
                  <a:pt x="8173978" y="3474287"/>
                  <a:pt x="8187313" y="3498961"/>
                </a:cubicBezTo>
                <a:cubicBezTo>
                  <a:pt x="8187313" y="3498961"/>
                  <a:pt x="8187313" y="3498961"/>
                  <a:pt x="8408292" y="3879501"/>
                </a:cubicBezTo>
                <a:cubicBezTo>
                  <a:pt x="8422579" y="3903225"/>
                  <a:pt x="8422579" y="3933593"/>
                  <a:pt x="8408292" y="3957318"/>
                </a:cubicBezTo>
                <a:cubicBezTo>
                  <a:pt x="8408292" y="3957318"/>
                  <a:pt x="8408292" y="3957318"/>
                  <a:pt x="8187313" y="4337857"/>
                </a:cubicBezTo>
                <a:cubicBezTo>
                  <a:pt x="8173978" y="4362531"/>
                  <a:pt x="8147308" y="4377714"/>
                  <a:pt x="8119685" y="4377714"/>
                </a:cubicBezTo>
                <a:cubicBezTo>
                  <a:pt x="8119685" y="4377714"/>
                  <a:pt x="8119685" y="4377714"/>
                  <a:pt x="7678681" y="4377714"/>
                </a:cubicBezTo>
                <a:cubicBezTo>
                  <a:pt x="7650106" y="4377714"/>
                  <a:pt x="7624388" y="4362531"/>
                  <a:pt x="7610101" y="4337857"/>
                </a:cubicBezTo>
                <a:cubicBezTo>
                  <a:pt x="7610101" y="4337857"/>
                  <a:pt x="7610101" y="4337857"/>
                  <a:pt x="7390076" y="3957318"/>
                </a:cubicBezTo>
                <a:cubicBezTo>
                  <a:pt x="7375787" y="3933593"/>
                  <a:pt x="7375787" y="3903225"/>
                  <a:pt x="7390076" y="3879501"/>
                </a:cubicBezTo>
                <a:cubicBezTo>
                  <a:pt x="7390076" y="3879501"/>
                  <a:pt x="7390076" y="3879501"/>
                  <a:pt x="7610101" y="3498961"/>
                </a:cubicBezTo>
                <a:cubicBezTo>
                  <a:pt x="7624388" y="3474287"/>
                  <a:pt x="7650106" y="3459104"/>
                  <a:pt x="7678681" y="3459104"/>
                </a:cubicBezTo>
                <a:close/>
                <a:moveTo>
                  <a:pt x="9108816" y="2082751"/>
                </a:moveTo>
                <a:cubicBezTo>
                  <a:pt x="9108816" y="2082751"/>
                  <a:pt x="9108816" y="2082751"/>
                  <a:pt x="9876937" y="2082751"/>
                </a:cubicBezTo>
                <a:cubicBezTo>
                  <a:pt x="9925048" y="2082751"/>
                  <a:pt x="9971500" y="2109197"/>
                  <a:pt x="9994727" y="2152172"/>
                </a:cubicBezTo>
                <a:cubicBezTo>
                  <a:pt x="9994727" y="2152172"/>
                  <a:pt x="9994727" y="2152172"/>
                  <a:pt x="10379617" y="2814978"/>
                </a:cubicBezTo>
                <a:cubicBezTo>
                  <a:pt x="10404502" y="2856301"/>
                  <a:pt x="10404502" y="2909193"/>
                  <a:pt x="10379617" y="2950515"/>
                </a:cubicBezTo>
                <a:cubicBezTo>
                  <a:pt x="10379617" y="2950515"/>
                  <a:pt x="10379617" y="2950515"/>
                  <a:pt x="9994727" y="3613321"/>
                </a:cubicBezTo>
                <a:cubicBezTo>
                  <a:pt x="9971500" y="3656296"/>
                  <a:pt x="9925048" y="3682742"/>
                  <a:pt x="9876937" y="3682742"/>
                </a:cubicBezTo>
                <a:cubicBezTo>
                  <a:pt x="9876937" y="3682742"/>
                  <a:pt x="9876937" y="3682742"/>
                  <a:pt x="9108816" y="3682742"/>
                </a:cubicBezTo>
                <a:cubicBezTo>
                  <a:pt x="9059045" y="3682742"/>
                  <a:pt x="9014252" y="3656296"/>
                  <a:pt x="8989367" y="3613321"/>
                </a:cubicBezTo>
                <a:cubicBezTo>
                  <a:pt x="8989367" y="3613321"/>
                  <a:pt x="8989367" y="3613321"/>
                  <a:pt x="8606137" y="2950515"/>
                </a:cubicBezTo>
                <a:cubicBezTo>
                  <a:pt x="8581251" y="2909193"/>
                  <a:pt x="8581251" y="2856301"/>
                  <a:pt x="8606137" y="2814978"/>
                </a:cubicBezTo>
                <a:cubicBezTo>
                  <a:pt x="8606137" y="2814978"/>
                  <a:pt x="8606137" y="2814978"/>
                  <a:pt x="8989367" y="2152172"/>
                </a:cubicBezTo>
                <a:cubicBezTo>
                  <a:pt x="9014252" y="2109197"/>
                  <a:pt x="9059045" y="2082751"/>
                  <a:pt x="9108816" y="2082751"/>
                </a:cubicBezTo>
                <a:close/>
                <a:moveTo>
                  <a:pt x="1321854" y="2071857"/>
                </a:moveTo>
                <a:cubicBezTo>
                  <a:pt x="1321854" y="2071857"/>
                  <a:pt x="1321854" y="2071857"/>
                  <a:pt x="5365317" y="2071857"/>
                </a:cubicBezTo>
                <a:cubicBezTo>
                  <a:pt x="5618580" y="2071857"/>
                  <a:pt x="5863108" y="2211072"/>
                  <a:pt x="5985373" y="2437296"/>
                </a:cubicBezTo>
                <a:cubicBezTo>
                  <a:pt x="5985373" y="2437296"/>
                  <a:pt x="5985373" y="2437296"/>
                  <a:pt x="8011470" y="5926372"/>
                </a:cubicBezTo>
                <a:cubicBezTo>
                  <a:pt x="8142468" y="6143896"/>
                  <a:pt x="8142468" y="6422327"/>
                  <a:pt x="8011470" y="6639850"/>
                </a:cubicBezTo>
                <a:cubicBezTo>
                  <a:pt x="8011470" y="6639850"/>
                  <a:pt x="8011470" y="6639850"/>
                  <a:pt x="7904625" y="6823844"/>
                </a:cubicBezTo>
                <a:lnTo>
                  <a:pt x="7884791" y="6858000"/>
                </a:lnTo>
                <a:lnTo>
                  <a:pt x="0" y="6858000"/>
                </a:lnTo>
                <a:lnTo>
                  <a:pt x="0" y="3635967"/>
                </a:lnTo>
                <a:lnTo>
                  <a:pt x="27177" y="3588964"/>
                </a:lnTo>
                <a:cubicBezTo>
                  <a:pt x="220245" y="3255048"/>
                  <a:pt x="440895" y="2873431"/>
                  <a:pt x="693065" y="2437296"/>
                </a:cubicBezTo>
                <a:cubicBezTo>
                  <a:pt x="824063" y="2211072"/>
                  <a:pt x="1059859" y="2071857"/>
                  <a:pt x="1321854" y="2071857"/>
                </a:cubicBezTo>
                <a:close/>
                <a:moveTo>
                  <a:pt x="6786399" y="753840"/>
                </a:moveTo>
                <a:cubicBezTo>
                  <a:pt x="6786399" y="753840"/>
                  <a:pt x="6786399" y="753840"/>
                  <a:pt x="8025968" y="753840"/>
                </a:cubicBezTo>
                <a:cubicBezTo>
                  <a:pt x="8103608" y="753840"/>
                  <a:pt x="8178571" y="796518"/>
                  <a:pt x="8216053" y="865869"/>
                </a:cubicBezTo>
                <a:cubicBezTo>
                  <a:pt x="8216053" y="865869"/>
                  <a:pt x="8216053" y="865869"/>
                  <a:pt x="8837177" y="1935484"/>
                </a:cubicBezTo>
                <a:cubicBezTo>
                  <a:pt x="8877335" y="2002169"/>
                  <a:pt x="8877335" y="2087523"/>
                  <a:pt x="8837177" y="2154207"/>
                </a:cubicBezTo>
                <a:cubicBezTo>
                  <a:pt x="8837177" y="2154207"/>
                  <a:pt x="8837177" y="2154207"/>
                  <a:pt x="8216053" y="3223823"/>
                </a:cubicBezTo>
                <a:cubicBezTo>
                  <a:pt x="8178571" y="3293174"/>
                  <a:pt x="8103608" y="3335852"/>
                  <a:pt x="8025968" y="3335852"/>
                </a:cubicBezTo>
                <a:cubicBezTo>
                  <a:pt x="8025968" y="3335852"/>
                  <a:pt x="8025968" y="3335852"/>
                  <a:pt x="6786399" y="3335852"/>
                </a:cubicBezTo>
                <a:cubicBezTo>
                  <a:pt x="6706082" y="3335852"/>
                  <a:pt x="6633796" y="3293174"/>
                  <a:pt x="6593637" y="3223823"/>
                </a:cubicBezTo>
                <a:cubicBezTo>
                  <a:pt x="6593637" y="3223823"/>
                  <a:pt x="6593637" y="3223823"/>
                  <a:pt x="5975192" y="2154207"/>
                </a:cubicBezTo>
                <a:cubicBezTo>
                  <a:pt x="5935033" y="2087523"/>
                  <a:pt x="5935033" y="2002169"/>
                  <a:pt x="5975192" y="1935484"/>
                </a:cubicBezTo>
                <a:cubicBezTo>
                  <a:pt x="5975192" y="1935484"/>
                  <a:pt x="5975192" y="1935484"/>
                  <a:pt x="6593637" y="865869"/>
                </a:cubicBezTo>
                <a:cubicBezTo>
                  <a:pt x="6633796" y="796518"/>
                  <a:pt x="6706082" y="753840"/>
                  <a:pt x="6786399" y="753840"/>
                </a:cubicBezTo>
                <a:close/>
                <a:moveTo>
                  <a:pt x="0" y="0"/>
                </a:moveTo>
                <a:lnTo>
                  <a:pt x="6966294" y="0"/>
                </a:lnTo>
                <a:lnTo>
                  <a:pt x="6852387" y="196155"/>
                </a:lnTo>
                <a:cubicBezTo>
                  <a:pt x="6627011" y="584267"/>
                  <a:pt x="6359899" y="1044253"/>
                  <a:pt x="6043321" y="1589421"/>
                </a:cubicBezTo>
                <a:cubicBezTo>
                  <a:pt x="5921057" y="1815646"/>
                  <a:pt x="5676528" y="1954861"/>
                  <a:pt x="5423265" y="1954861"/>
                </a:cubicBezTo>
                <a:cubicBezTo>
                  <a:pt x="5423265" y="1954861"/>
                  <a:pt x="5423265" y="1954861"/>
                  <a:pt x="1379802" y="1954861"/>
                </a:cubicBezTo>
                <a:cubicBezTo>
                  <a:pt x="1117807" y="1954861"/>
                  <a:pt x="882012" y="1815646"/>
                  <a:pt x="751013" y="1589421"/>
                </a:cubicBezTo>
                <a:cubicBezTo>
                  <a:pt x="751013" y="1589421"/>
                  <a:pt x="751013" y="1589421"/>
                  <a:pt x="1951" y="293901"/>
                </a:cubicBezTo>
                <a:lnTo>
                  <a:pt x="0" y="2905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160000" anchor="t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5293" y="2834640"/>
            <a:ext cx="4459766" cy="2720356"/>
          </a:xfrm>
          <a:prstGeom prst="roundRect">
            <a:avLst>
              <a:gd name="adj" fmla="val 2139"/>
            </a:avLst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  <a:lin ang="10800000" scaled="0"/>
          </a:gradFill>
          <a:ln>
            <a:solidFill>
              <a:schemeClr val="bg1">
                <a:lumMod val="50000"/>
              </a:schemeClr>
            </a:solidFill>
          </a:ln>
        </p:spPr>
        <p:txBody>
          <a:bodyPr lIns="180000" tIns="288000" rIns="180000" bIns="180000" anchor="t"/>
          <a:lstStyle>
            <a:lvl1pPr algn="l">
              <a:lnSpc>
                <a:spcPts val="4000"/>
              </a:lnSpc>
              <a:defRPr sz="5000" b="1" spc="-3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907C852-B0E0-4C2E-88CE-B543605961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4849" y="3859066"/>
            <a:ext cx="3521514" cy="288000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84C0BEF-F601-4B10-8AEE-4859FE996B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34849" y="4220189"/>
            <a:ext cx="3521514" cy="288000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3A6EF9B-EF2F-4949-9CC4-C16BF8DC85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34849" y="4581312"/>
            <a:ext cx="3521514" cy="288000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Email or Social Media Hand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E8CA170-9CA9-448E-B07A-E01AB84F7FD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34849" y="4942435"/>
            <a:ext cx="3521514" cy="288000"/>
          </a:xfr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Company Website</a:t>
            </a:r>
          </a:p>
        </p:txBody>
      </p:sp>
    </p:spTree>
    <p:extLst>
      <p:ext uri="{BB962C8B-B14F-4D97-AF65-F5344CB8AC3E}">
        <p14:creationId xmlns:p14="http://schemas.microsoft.com/office/powerpoint/2010/main" val="16328917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94EB5D3-F8CB-4E76-8D7E-FF441818EE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12000"/>
            <a:ext cx="3600000" cy="467925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4BCA97-F31B-451D-82F8-6E000DF2118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17AAC4-A657-4D75-A527-0307AFF2B1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FA90A43-BEC4-4B20-96E2-797B03FB82F2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302000" y="1512000"/>
            <a:ext cx="3600000" cy="467925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A2C2023-6C37-4611-ACAF-5F2060202836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8172000" y="1512000"/>
            <a:ext cx="3600000" cy="467925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43880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D7ACCB5-9A86-4F46-89E2-B79F48C9EC1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12000"/>
            <a:ext cx="2160000" cy="467925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26412" y="1512000"/>
            <a:ext cx="2160588" cy="46792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21412" y="1512000"/>
            <a:ext cx="2160588" cy="46792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6412" y="1507535"/>
            <a:ext cx="2160588" cy="46792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7D6BBBA-F4A3-45D4-91BC-A405FFDC7C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11412" y="1507535"/>
            <a:ext cx="2160588" cy="468371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09234E-176D-4BBF-9391-7B6F018C51A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9ABD5E-B8F1-4246-B167-09138760AD7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74837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206C51E8-C5C0-4672-B456-F44C69B074D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DE9AE8C-7574-4D45-B521-6B18054DA7C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EF240172-5930-4717-A0CD-A15107527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B4A83CE-8643-4697-94A9-C9F587F46E2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B0A765A5-BBCE-405E-A4B3-80A660118E8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8293" y="3271757"/>
            <a:ext cx="4459766" cy="3146839"/>
          </a:xfrm>
          <a:prstGeom prst="roundRect">
            <a:avLst>
              <a:gd name="adj" fmla="val 2139"/>
            </a:avLst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  <a:lin ang="10800000" scaled="0"/>
          </a:gradFill>
          <a:ln>
            <a:solidFill>
              <a:schemeClr val="bg1">
                <a:lumMod val="50000"/>
              </a:schemeClr>
            </a:solidFill>
          </a:ln>
        </p:spPr>
        <p:txBody>
          <a:bodyPr lIns="180000" tIns="288000" rIns="180000" bIns="180000" anchor="t"/>
          <a:lstStyle>
            <a:lvl1pPr algn="l">
              <a:lnSpc>
                <a:spcPts val="4000"/>
              </a:lnSpc>
              <a:defRPr sz="5000" b="1" spc="-3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30300" y="5250494"/>
            <a:ext cx="4000500" cy="997905"/>
          </a:xfrm>
          <a:noFill/>
        </p:spPr>
        <p:txBody>
          <a:bodyPr lIns="0" tIns="0" rIns="0" bIns="0"/>
          <a:lstStyle>
            <a:lvl1pPr marL="0" indent="0" algn="l">
              <a:buNone/>
              <a:defRPr sz="21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656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12B8F0DB-CC25-4CE9-A68E-CAA2FD986AF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A058973-2DC9-4087-9D57-F1D779F56CC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B641062D-3CD4-49D1-A621-331E2933340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9F2C1E7C-A088-4772-84B3-15309BEADF7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CA52278A-6924-4F97-A196-AE30D3DACB7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6117" y="1816509"/>
            <a:ext cx="4459766" cy="3146839"/>
          </a:xfrm>
          <a:prstGeom prst="roundRect">
            <a:avLst>
              <a:gd name="adj" fmla="val 2139"/>
            </a:avLst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  <a:lin ang="10800000" scaled="0"/>
          </a:gradFill>
          <a:ln>
            <a:solidFill>
              <a:schemeClr val="bg1">
                <a:lumMod val="50000"/>
              </a:schemeClr>
            </a:solidFill>
          </a:ln>
        </p:spPr>
        <p:txBody>
          <a:bodyPr lIns="180000" tIns="288000" rIns="180000" bIns="180000" anchor="t"/>
          <a:lstStyle>
            <a:lvl1pPr algn="l">
              <a:lnSpc>
                <a:spcPts val="4000"/>
              </a:lnSpc>
              <a:defRPr sz="5000" b="1" spc="-3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noProof="0"/>
              <a:t>Click to edit divider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24" y="3795246"/>
            <a:ext cx="4000500" cy="997905"/>
          </a:xfrm>
          <a:noFill/>
        </p:spPr>
        <p:txBody>
          <a:bodyPr lIns="0" tIns="0" rIns="0" bIns="0"/>
          <a:lstStyle>
            <a:lvl1pPr marL="0" indent="0" algn="l">
              <a:buNone/>
              <a:defRPr sz="21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4B1E83-6080-4D35-A216-8E5C3990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E95353-8EE1-49C9-ADAC-E76BD49D2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031296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663BD7B-5136-47ED-BE0A-C6C2F5622BD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6ABA22C7-C35B-4EC0-B7CE-54F9EEFCB71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6DAE4BC9-9CFF-4522-8216-651498F7A167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8E822AA0-FB3E-4051-AA1F-F51204BA02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3445288A-D169-4374-BCFD-917DD04B2B1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E0EB3-0FF4-4285-B9D3-90A5751B7B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E0AAD-6FBD-416B-A91A-21F2B737919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345016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>
            <a:extLst>
              <a:ext uri="{FF2B5EF4-FFF2-40B4-BE49-F238E27FC236}">
                <a16:creationId xmlns:a16="http://schemas.microsoft.com/office/drawing/2014/main" id="{B4B833F7-7F09-42C1-81DA-97CA9530D52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4AA9899-9E92-41B5-AFEF-5F6EAB9782D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950958A-6460-4594-BEAB-C7444EC6129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A7E15F2A-61A0-4C11-8E47-4DF7051E91D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B5FF0CC8-80F5-42C4-80EF-E32459238B7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2CD5709C-84DE-45F3-AE9B-8B6FD7134A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9886" y="1511250"/>
            <a:ext cx="5460114" cy="466571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6BB18B1-3B7F-4B18-A1C5-BB7DA443C6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6816" y="1511250"/>
            <a:ext cx="5460114" cy="466571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15521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>
            <a:extLst>
              <a:ext uri="{FF2B5EF4-FFF2-40B4-BE49-F238E27FC236}">
                <a16:creationId xmlns:a16="http://schemas.microsoft.com/office/drawing/2014/main" id="{B4B833F7-7F09-42C1-81DA-97CA9530D52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4AA9899-9E92-41B5-AFEF-5F6EAB9782D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950958A-6460-4594-BEAB-C7444EC6129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A7E15F2A-61A0-4C11-8E47-4DF7051E91D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B5FF0CC8-80F5-42C4-80EF-E32459238B7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419BDFB-8FC0-4B89-A29A-8EAC95E9AB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11250"/>
            <a:ext cx="548493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E6C2CC0-9AB0-46E9-977A-EF923DCE7F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9334" y="1518287"/>
            <a:ext cx="542066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28DF954C-A51E-4242-B83E-A826008F5C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39334" y="2486989"/>
            <a:ext cx="5432666" cy="370267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600E416E-6162-484A-BA4D-640FA83078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800" y="2486989"/>
            <a:ext cx="5491215" cy="370267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16020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>
            <a:extLst>
              <a:ext uri="{FF2B5EF4-FFF2-40B4-BE49-F238E27FC236}">
                <a16:creationId xmlns:a16="http://schemas.microsoft.com/office/drawing/2014/main" id="{B4B833F7-7F09-42C1-81DA-97CA9530D52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4AA9899-9E92-41B5-AFEF-5F6EAB9782D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950958A-6460-4594-BEAB-C7444EC6129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A7E15F2A-61A0-4C11-8E47-4DF7051E91D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B5FF0CC8-80F5-42C4-80EF-E32459238B7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1999"/>
            <a:ext cx="3932237" cy="1600199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ZA" dirty="0"/>
            </a:lvl1pPr>
          </a:lstStyle>
          <a:p>
            <a:pPr marL="0" lvl="0"/>
            <a:r>
              <a:rPr lang="en-US" noProof="0"/>
              <a:t>Click to edit pag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49FB4A2-B750-422F-96D2-A7C2642957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4062" y="21343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8B59DDF-F2BC-491E-92E0-9D2C1398EC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31999"/>
            <a:ext cx="6544468" cy="551388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229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>
            <a:extLst>
              <a:ext uri="{FF2B5EF4-FFF2-40B4-BE49-F238E27FC236}">
                <a16:creationId xmlns:a16="http://schemas.microsoft.com/office/drawing/2014/main" id="{B4B833F7-7F09-42C1-81DA-97CA9530D528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4AA9899-9E92-41B5-AFEF-5F6EAB9782D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950958A-6460-4594-BEAB-C7444EC6129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A7E15F2A-61A0-4C11-8E47-4DF7051E91D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B5FF0CC8-80F5-42C4-80EF-E32459238B7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1999"/>
            <a:ext cx="3932237" cy="1600199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ZA" dirty="0"/>
            </a:lvl1pPr>
          </a:lstStyle>
          <a:p>
            <a:pPr marL="0" lvl="0"/>
            <a:r>
              <a:rPr lang="en-US" noProof="0"/>
              <a:t>Click to edit pag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49FB4A2-B750-422F-96D2-A7C2642957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4062" y="21343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110E46C-B434-49FA-AA0E-D64E5786D2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31999"/>
            <a:ext cx="6544468" cy="5513889"/>
          </a:xfrm>
          <a:prstGeom prst="roundRect">
            <a:avLst>
              <a:gd name="adj" fmla="val 5554"/>
            </a:avLst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200" i="1" dirty="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lvl="0" indent="0" algn="ctr">
              <a:buNone/>
            </a:pPr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6184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9A70B137-2503-4803-9F56-620A586FA4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655455" cy="6858000"/>
          </a:xfrm>
          <a:custGeom>
            <a:avLst/>
            <a:gdLst>
              <a:gd name="connsiteX0" fmla="*/ 8526285 w 10655455"/>
              <a:gd name="connsiteY0" fmla="*/ 6283111 h 6858000"/>
              <a:gd name="connsiteX1" fmla="*/ 10157124 w 10655455"/>
              <a:gd name="connsiteY1" fmla="*/ 6283111 h 6858000"/>
              <a:gd name="connsiteX2" fmla="*/ 10407209 w 10655455"/>
              <a:gd name="connsiteY2" fmla="*/ 6430504 h 6858000"/>
              <a:gd name="connsiteX3" fmla="*/ 10606716 w 10655455"/>
              <a:gd name="connsiteY3" fmla="*/ 6774068 h 6858000"/>
              <a:gd name="connsiteX4" fmla="*/ 10655455 w 10655455"/>
              <a:gd name="connsiteY4" fmla="*/ 6858000 h 6858000"/>
              <a:gd name="connsiteX5" fmla="*/ 8025501 w 10655455"/>
              <a:gd name="connsiteY5" fmla="*/ 6858000 h 6858000"/>
              <a:gd name="connsiteX6" fmla="*/ 8129453 w 10655455"/>
              <a:gd name="connsiteY6" fmla="*/ 6678214 h 6858000"/>
              <a:gd name="connsiteX7" fmla="*/ 8272677 w 10655455"/>
              <a:gd name="connsiteY7" fmla="*/ 6430504 h 6858000"/>
              <a:gd name="connsiteX8" fmla="*/ 8526285 w 10655455"/>
              <a:gd name="connsiteY8" fmla="*/ 6283111 h 6858000"/>
              <a:gd name="connsiteX9" fmla="*/ 8508611 w 10655455"/>
              <a:gd name="connsiteY9" fmla="*/ 4776272 h 6858000"/>
              <a:gd name="connsiteX10" fmla="*/ 9153763 w 10655455"/>
              <a:gd name="connsiteY10" fmla="*/ 4776272 h 6858000"/>
              <a:gd name="connsiteX11" fmla="*/ 9252696 w 10655455"/>
              <a:gd name="connsiteY11" fmla="*/ 4834580 h 6858000"/>
              <a:gd name="connsiteX12" fmla="*/ 9575969 w 10655455"/>
              <a:gd name="connsiteY12" fmla="*/ 5391278 h 6858000"/>
              <a:gd name="connsiteX13" fmla="*/ 9575969 w 10655455"/>
              <a:gd name="connsiteY13" fmla="*/ 5505116 h 6858000"/>
              <a:gd name="connsiteX14" fmla="*/ 9252696 w 10655455"/>
              <a:gd name="connsiteY14" fmla="*/ 6061815 h 6858000"/>
              <a:gd name="connsiteX15" fmla="*/ 9153763 w 10655455"/>
              <a:gd name="connsiteY15" fmla="*/ 6120122 h 6858000"/>
              <a:gd name="connsiteX16" fmla="*/ 8508611 w 10655455"/>
              <a:gd name="connsiteY16" fmla="*/ 6120122 h 6858000"/>
              <a:gd name="connsiteX17" fmla="*/ 8408284 w 10655455"/>
              <a:gd name="connsiteY17" fmla="*/ 6061815 h 6858000"/>
              <a:gd name="connsiteX18" fmla="*/ 8086404 w 10655455"/>
              <a:gd name="connsiteY18" fmla="*/ 5505116 h 6858000"/>
              <a:gd name="connsiteX19" fmla="*/ 8086404 w 10655455"/>
              <a:gd name="connsiteY19" fmla="*/ 5391278 h 6858000"/>
              <a:gd name="connsiteX20" fmla="*/ 8408284 w 10655455"/>
              <a:gd name="connsiteY20" fmla="*/ 4834580 h 6858000"/>
              <a:gd name="connsiteX21" fmla="*/ 8508611 w 10655455"/>
              <a:gd name="connsiteY21" fmla="*/ 4776272 h 6858000"/>
              <a:gd name="connsiteX22" fmla="*/ 8438383 w 10655455"/>
              <a:gd name="connsiteY22" fmla="*/ 4182594 h 6858000"/>
              <a:gd name="connsiteX23" fmla="*/ 8671249 w 10655455"/>
              <a:gd name="connsiteY23" fmla="*/ 4182594 h 6858000"/>
              <a:gd name="connsiteX24" fmla="*/ 8706958 w 10655455"/>
              <a:gd name="connsiteY24" fmla="*/ 4203640 h 6858000"/>
              <a:gd name="connsiteX25" fmla="*/ 8823642 w 10655455"/>
              <a:gd name="connsiteY25" fmla="*/ 4404579 h 6858000"/>
              <a:gd name="connsiteX26" fmla="*/ 8823642 w 10655455"/>
              <a:gd name="connsiteY26" fmla="*/ 4445668 h 6858000"/>
              <a:gd name="connsiteX27" fmla="*/ 8706958 w 10655455"/>
              <a:gd name="connsiteY27" fmla="*/ 4646606 h 6858000"/>
              <a:gd name="connsiteX28" fmla="*/ 8671249 w 10655455"/>
              <a:gd name="connsiteY28" fmla="*/ 4667652 h 6858000"/>
              <a:gd name="connsiteX29" fmla="*/ 8438383 w 10655455"/>
              <a:gd name="connsiteY29" fmla="*/ 4667652 h 6858000"/>
              <a:gd name="connsiteX30" fmla="*/ 8402170 w 10655455"/>
              <a:gd name="connsiteY30" fmla="*/ 4646606 h 6858000"/>
              <a:gd name="connsiteX31" fmla="*/ 8285989 w 10655455"/>
              <a:gd name="connsiteY31" fmla="*/ 4445668 h 6858000"/>
              <a:gd name="connsiteX32" fmla="*/ 8285989 w 10655455"/>
              <a:gd name="connsiteY32" fmla="*/ 4404579 h 6858000"/>
              <a:gd name="connsiteX33" fmla="*/ 8402170 w 10655455"/>
              <a:gd name="connsiteY33" fmla="*/ 4203640 h 6858000"/>
              <a:gd name="connsiteX34" fmla="*/ 8438383 w 10655455"/>
              <a:gd name="connsiteY34" fmla="*/ 4182594 h 6858000"/>
              <a:gd name="connsiteX35" fmla="*/ 7678681 w 10655455"/>
              <a:gd name="connsiteY35" fmla="*/ 3459104 h 6858000"/>
              <a:gd name="connsiteX36" fmla="*/ 8119685 w 10655455"/>
              <a:gd name="connsiteY36" fmla="*/ 3459104 h 6858000"/>
              <a:gd name="connsiteX37" fmla="*/ 8187313 w 10655455"/>
              <a:gd name="connsiteY37" fmla="*/ 3498961 h 6858000"/>
              <a:gd name="connsiteX38" fmla="*/ 8408292 w 10655455"/>
              <a:gd name="connsiteY38" fmla="*/ 3879501 h 6858000"/>
              <a:gd name="connsiteX39" fmla="*/ 8408292 w 10655455"/>
              <a:gd name="connsiteY39" fmla="*/ 3957318 h 6858000"/>
              <a:gd name="connsiteX40" fmla="*/ 8187313 w 10655455"/>
              <a:gd name="connsiteY40" fmla="*/ 4337857 h 6858000"/>
              <a:gd name="connsiteX41" fmla="*/ 8119685 w 10655455"/>
              <a:gd name="connsiteY41" fmla="*/ 4377714 h 6858000"/>
              <a:gd name="connsiteX42" fmla="*/ 7678681 w 10655455"/>
              <a:gd name="connsiteY42" fmla="*/ 4377714 h 6858000"/>
              <a:gd name="connsiteX43" fmla="*/ 7610101 w 10655455"/>
              <a:gd name="connsiteY43" fmla="*/ 4337857 h 6858000"/>
              <a:gd name="connsiteX44" fmla="*/ 7390076 w 10655455"/>
              <a:gd name="connsiteY44" fmla="*/ 3957318 h 6858000"/>
              <a:gd name="connsiteX45" fmla="*/ 7390076 w 10655455"/>
              <a:gd name="connsiteY45" fmla="*/ 3879501 h 6858000"/>
              <a:gd name="connsiteX46" fmla="*/ 7610101 w 10655455"/>
              <a:gd name="connsiteY46" fmla="*/ 3498961 h 6858000"/>
              <a:gd name="connsiteX47" fmla="*/ 7678681 w 10655455"/>
              <a:gd name="connsiteY47" fmla="*/ 3459104 h 6858000"/>
              <a:gd name="connsiteX48" fmla="*/ 9108816 w 10655455"/>
              <a:gd name="connsiteY48" fmla="*/ 2082751 h 6858000"/>
              <a:gd name="connsiteX49" fmla="*/ 9876937 w 10655455"/>
              <a:gd name="connsiteY49" fmla="*/ 2082751 h 6858000"/>
              <a:gd name="connsiteX50" fmla="*/ 9994727 w 10655455"/>
              <a:gd name="connsiteY50" fmla="*/ 2152172 h 6858000"/>
              <a:gd name="connsiteX51" fmla="*/ 10379617 w 10655455"/>
              <a:gd name="connsiteY51" fmla="*/ 2814978 h 6858000"/>
              <a:gd name="connsiteX52" fmla="*/ 10379617 w 10655455"/>
              <a:gd name="connsiteY52" fmla="*/ 2950515 h 6858000"/>
              <a:gd name="connsiteX53" fmla="*/ 9994727 w 10655455"/>
              <a:gd name="connsiteY53" fmla="*/ 3613321 h 6858000"/>
              <a:gd name="connsiteX54" fmla="*/ 9876937 w 10655455"/>
              <a:gd name="connsiteY54" fmla="*/ 3682742 h 6858000"/>
              <a:gd name="connsiteX55" fmla="*/ 9108816 w 10655455"/>
              <a:gd name="connsiteY55" fmla="*/ 3682742 h 6858000"/>
              <a:gd name="connsiteX56" fmla="*/ 8989367 w 10655455"/>
              <a:gd name="connsiteY56" fmla="*/ 3613321 h 6858000"/>
              <a:gd name="connsiteX57" fmla="*/ 8606137 w 10655455"/>
              <a:gd name="connsiteY57" fmla="*/ 2950515 h 6858000"/>
              <a:gd name="connsiteX58" fmla="*/ 8606137 w 10655455"/>
              <a:gd name="connsiteY58" fmla="*/ 2814978 h 6858000"/>
              <a:gd name="connsiteX59" fmla="*/ 8989367 w 10655455"/>
              <a:gd name="connsiteY59" fmla="*/ 2152172 h 6858000"/>
              <a:gd name="connsiteX60" fmla="*/ 9108816 w 10655455"/>
              <a:gd name="connsiteY60" fmla="*/ 2082751 h 6858000"/>
              <a:gd name="connsiteX61" fmla="*/ 1321854 w 10655455"/>
              <a:gd name="connsiteY61" fmla="*/ 2071857 h 6858000"/>
              <a:gd name="connsiteX62" fmla="*/ 5365317 w 10655455"/>
              <a:gd name="connsiteY62" fmla="*/ 2071857 h 6858000"/>
              <a:gd name="connsiteX63" fmla="*/ 5985373 w 10655455"/>
              <a:gd name="connsiteY63" fmla="*/ 2437296 h 6858000"/>
              <a:gd name="connsiteX64" fmla="*/ 8011470 w 10655455"/>
              <a:gd name="connsiteY64" fmla="*/ 5926372 h 6858000"/>
              <a:gd name="connsiteX65" fmla="*/ 8011470 w 10655455"/>
              <a:gd name="connsiteY65" fmla="*/ 6639850 h 6858000"/>
              <a:gd name="connsiteX66" fmla="*/ 7904625 w 10655455"/>
              <a:gd name="connsiteY66" fmla="*/ 6823844 h 6858000"/>
              <a:gd name="connsiteX67" fmla="*/ 7884791 w 10655455"/>
              <a:gd name="connsiteY67" fmla="*/ 6858000 h 6858000"/>
              <a:gd name="connsiteX68" fmla="*/ 0 w 10655455"/>
              <a:gd name="connsiteY68" fmla="*/ 6858000 h 6858000"/>
              <a:gd name="connsiteX69" fmla="*/ 0 w 10655455"/>
              <a:gd name="connsiteY69" fmla="*/ 3635967 h 6858000"/>
              <a:gd name="connsiteX70" fmla="*/ 27177 w 10655455"/>
              <a:gd name="connsiteY70" fmla="*/ 3588964 h 6858000"/>
              <a:gd name="connsiteX71" fmla="*/ 693065 w 10655455"/>
              <a:gd name="connsiteY71" fmla="*/ 2437296 h 6858000"/>
              <a:gd name="connsiteX72" fmla="*/ 1321854 w 10655455"/>
              <a:gd name="connsiteY72" fmla="*/ 2071857 h 6858000"/>
              <a:gd name="connsiteX73" fmla="*/ 6786399 w 10655455"/>
              <a:gd name="connsiteY73" fmla="*/ 753840 h 6858000"/>
              <a:gd name="connsiteX74" fmla="*/ 8025968 w 10655455"/>
              <a:gd name="connsiteY74" fmla="*/ 753840 h 6858000"/>
              <a:gd name="connsiteX75" fmla="*/ 8216053 w 10655455"/>
              <a:gd name="connsiteY75" fmla="*/ 865869 h 6858000"/>
              <a:gd name="connsiteX76" fmla="*/ 8837177 w 10655455"/>
              <a:gd name="connsiteY76" fmla="*/ 1935484 h 6858000"/>
              <a:gd name="connsiteX77" fmla="*/ 8837177 w 10655455"/>
              <a:gd name="connsiteY77" fmla="*/ 2154207 h 6858000"/>
              <a:gd name="connsiteX78" fmla="*/ 8216053 w 10655455"/>
              <a:gd name="connsiteY78" fmla="*/ 3223823 h 6858000"/>
              <a:gd name="connsiteX79" fmla="*/ 8025968 w 10655455"/>
              <a:gd name="connsiteY79" fmla="*/ 3335852 h 6858000"/>
              <a:gd name="connsiteX80" fmla="*/ 6786399 w 10655455"/>
              <a:gd name="connsiteY80" fmla="*/ 3335852 h 6858000"/>
              <a:gd name="connsiteX81" fmla="*/ 6593637 w 10655455"/>
              <a:gd name="connsiteY81" fmla="*/ 3223823 h 6858000"/>
              <a:gd name="connsiteX82" fmla="*/ 5975192 w 10655455"/>
              <a:gd name="connsiteY82" fmla="*/ 2154207 h 6858000"/>
              <a:gd name="connsiteX83" fmla="*/ 5975192 w 10655455"/>
              <a:gd name="connsiteY83" fmla="*/ 1935484 h 6858000"/>
              <a:gd name="connsiteX84" fmla="*/ 6593637 w 10655455"/>
              <a:gd name="connsiteY84" fmla="*/ 865869 h 6858000"/>
              <a:gd name="connsiteX85" fmla="*/ 6786399 w 10655455"/>
              <a:gd name="connsiteY85" fmla="*/ 753840 h 6858000"/>
              <a:gd name="connsiteX86" fmla="*/ 0 w 10655455"/>
              <a:gd name="connsiteY86" fmla="*/ 0 h 6858000"/>
              <a:gd name="connsiteX87" fmla="*/ 6966294 w 10655455"/>
              <a:gd name="connsiteY87" fmla="*/ 0 h 6858000"/>
              <a:gd name="connsiteX88" fmla="*/ 6852387 w 10655455"/>
              <a:gd name="connsiteY88" fmla="*/ 196155 h 6858000"/>
              <a:gd name="connsiteX89" fmla="*/ 6043321 w 10655455"/>
              <a:gd name="connsiteY89" fmla="*/ 1589421 h 6858000"/>
              <a:gd name="connsiteX90" fmla="*/ 5423265 w 10655455"/>
              <a:gd name="connsiteY90" fmla="*/ 1954861 h 6858000"/>
              <a:gd name="connsiteX91" fmla="*/ 1379802 w 10655455"/>
              <a:gd name="connsiteY91" fmla="*/ 1954861 h 6858000"/>
              <a:gd name="connsiteX92" fmla="*/ 751013 w 10655455"/>
              <a:gd name="connsiteY92" fmla="*/ 1589421 h 6858000"/>
              <a:gd name="connsiteX93" fmla="*/ 1951 w 10655455"/>
              <a:gd name="connsiteY93" fmla="*/ 293901 h 6858000"/>
              <a:gd name="connsiteX94" fmla="*/ 0 w 10655455"/>
              <a:gd name="connsiteY94" fmla="*/ 29052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0655455" h="6858000">
                <a:moveTo>
                  <a:pt x="8526285" y="6283111"/>
                </a:moveTo>
                <a:cubicBezTo>
                  <a:pt x="8526285" y="6283111"/>
                  <a:pt x="8526285" y="6283111"/>
                  <a:pt x="10157124" y="6283111"/>
                </a:cubicBezTo>
                <a:cubicBezTo>
                  <a:pt x="10259271" y="6283111"/>
                  <a:pt x="10357896" y="6339261"/>
                  <a:pt x="10407209" y="6430504"/>
                </a:cubicBezTo>
                <a:cubicBezTo>
                  <a:pt x="10407209" y="6430504"/>
                  <a:pt x="10407209" y="6430504"/>
                  <a:pt x="10606716" y="6774068"/>
                </a:cubicBezTo>
                <a:lnTo>
                  <a:pt x="10655455" y="6858000"/>
                </a:lnTo>
                <a:lnTo>
                  <a:pt x="8025501" y="6858000"/>
                </a:lnTo>
                <a:lnTo>
                  <a:pt x="8129453" y="6678214"/>
                </a:lnTo>
                <a:cubicBezTo>
                  <a:pt x="8174148" y="6600912"/>
                  <a:pt x="8221824" y="6518457"/>
                  <a:pt x="8272677" y="6430504"/>
                </a:cubicBezTo>
                <a:cubicBezTo>
                  <a:pt x="8325512" y="6339261"/>
                  <a:pt x="8420615" y="6283111"/>
                  <a:pt x="8526285" y="6283111"/>
                </a:cubicBezTo>
                <a:close/>
                <a:moveTo>
                  <a:pt x="8508611" y="4776272"/>
                </a:moveTo>
                <a:cubicBezTo>
                  <a:pt x="8508611" y="4776272"/>
                  <a:pt x="8508611" y="4776272"/>
                  <a:pt x="9153763" y="4776272"/>
                </a:cubicBezTo>
                <a:cubicBezTo>
                  <a:pt x="9194173" y="4776272"/>
                  <a:pt x="9233188" y="4798484"/>
                  <a:pt x="9252696" y="4834580"/>
                </a:cubicBezTo>
                <a:cubicBezTo>
                  <a:pt x="9252696" y="4834580"/>
                  <a:pt x="9252696" y="4834580"/>
                  <a:pt x="9575969" y="5391278"/>
                </a:cubicBezTo>
                <a:cubicBezTo>
                  <a:pt x="9596871" y="5425985"/>
                  <a:pt x="9596871" y="5470409"/>
                  <a:pt x="9575969" y="5505116"/>
                </a:cubicBezTo>
                <a:cubicBezTo>
                  <a:pt x="9575969" y="5505116"/>
                  <a:pt x="9575969" y="5505116"/>
                  <a:pt x="9252696" y="6061815"/>
                </a:cubicBezTo>
                <a:cubicBezTo>
                  <a:pt x="9233188" y="6097909"/>
                  <a:pt x="9194173" y="6120122"/>
                  <a:pt x="9153763" y="6120122"/>
                </a:cubicBezTo>
                <a:cubicBezTo>
                  <a:pt x="9153763" y="6120122"/>
                  <a:pt x="9153763" y="6120122"/>
                  <a:pt x="8508611" y="6120122"/>
                </a:cubicBezTo>
                <a:cubicBezTo>
                  <a:pt x="8466808" y="6120122"/>
                  <a:pt x="8429186" y="6097909"/>
                  <a:pt x="8408284" y="6061815"/>
                </a:cubicBezTo>
                <a:cubicBezTo>
                  <a:pt x="8408284" y="6061815"/>
                  <a:pt x="8408284" y="6061815"/>
                  <a:pt x="8086404" y="5505116"/>
                </a:cubicBezTo>
                <a:cubicBezTo>
                  <a:pt x="8065503" y="5470409"/>
                  <a:pt x="8065503" y="5425985"/>
                  <a:pt x="8086404" y="5391278"/>
                </a:cubicBezTo>
                <a:cubicBezTo>
                  <a:pt x="8086404" y="5391278"/>
                  <a:pt x="8086404" y="5391278"/>
                  <a:pt x="8408284" y="4834580"/>
                </a:cubicBezTo>
                <a:cubicBezTo>
                  <a:pt x="8429186" y="4798484"/>
                  <a:pt x="8466808" y="4776272"/>
                  <a:pt x="8508611" y="4776272"/>
                </a:cubicBezTo>
                <a:close/>
                <a:moveTo>
                  <a:pt x="8438383" y="4182594"/>
                </a:moveTo>
                <a:cubicBezTo>
                  <a:pt x="8438383" y="4182594"/>
                  <a:pt x="8438383" y="4182594"/>
                  <a:pt x="8671249" y="4182594"/>
                </a:cubicBezTo>
                <a:cubicBezTo>
                  <a:pt x="8685834" y="4182594"/>
                  <a:pt x="8699916" y="4190612"/>
                  <a:pt x="8706958" y="4203640"/>
                </a:cubicBezTo>
                <a:cubicBezTo>
                  <a:pt x="8706958" y="4203640"/>
                  <a:pt x="8706958" y="4203640"/>
                  <a:pt x="8823642" y="4404579"/>
                </a:cubicBezTo>
                <a:cubicBezTo>
                  <a:pt x="8831187" y="4417106"/>
                  <a:pt x="8831187" y="4433141"/>
                  <a:pt x="8823642" y="4445668"/>
                </a:cubicBezTo>
                <a:cubicBezTo>
                  <a:pt x="8823642" y="4445668"/>
                  <a:pt x="8823642" y="4445668"/>
                  <a:pt x="8706958" y="4646606"/>
                </a:cubicBezTo>
                <a:cubicBezTo>
                  <a:pt x="8699916" y="4659635"/>
                  <a:pt x="8685834" y="4667652"/>
                  <a:pt x="8671249" y="4667652"/>
                </a:cubicBezTo>
                <a:cubicBezTo>
                  <a:pt x="8671249" y="4667652"/>
                  <a:pt x="8671249" y="4667652"/>
                  <a:pt x="8438383" y="4667652"/>
                </a:cubicBezTo>
                <a:cubicBezTo>
                  <a:pt x="8423295" y="4667652"/>
                  <a:pt x="8409715" y="4659635"/>
                  <a:pt x="8402170" y="4646606"/>
                </a:cubicBezTo>
                <a:cubicBezTo>
                  <a:pt x="8402170" y="4646606"/>
                  <a:pt x="8402170" y="4646606"/>
                  <a:pt x="8285989" y="4445668"/>
                </a:cubicBezTo>
                <a:cubicBezTo>
                  <a:pt x="8278445" y="4433141"/>
                  <a:pt x="8278445" y="4417106"/>
                  <a:pt x="8285989" y="4404579"/>
                </a:cubicBezTo>
                <a:cubicBezTo>
                  <a:pt x="8285989" y="4404579"/>
                  <a:pt x="8285989" y="4404579"/>
                  <a:pt x="8402170" y="4203640"/>
                </a:cubicBezTo>
                <a:cubicBezTo>
                  <a:pt x="8409715" y="4190612"/>
                  <a:pt x="8423295" y="4182594"/>
                  <a:pt x="8438383" y="4182594"/>
                </a:cubicBezTo>
                <a:close/>
                <a:moveTo>
                  <a:pt x="7678681" y="3459104"/>
                </a:moveTo>
                <a:cubicBezTo>
                  <a:pt x="7678681" y="3459104"/>
                  <a:pt x="7678681" y="3459104"/>
                  <a:pt x="8119685" y="3459104"/>
                </a:cubicBezTo>
                <a:cubicBezTo>
                  <a:pt x="8147308" y="3459104"/>
                  <a:pt x="8173978" y="3474287"/>
                  <a:pt x="8187313" y="3498961"/>
                </a:cubicBezTo>
                <a:cubicBezTo>
                  <a:pt x="8187313" y="3498961"/>
                  <a:pt x="8187313" y="3498961"/>
                  <a:pt x="8408292" y="3879501"/>
                </a:cubicBezTo>
                <a:cubicBezTo>
                  <a:pt x="8422579" y="3903225"/>
                  <a:pt x="8422579" y="3933593"/>
                  <a:pt x="8408292" y="3957318"/>
                </a:cubicBezTo>
                <a:cubicBezTo>
                  <a:pt x="8408292" y="3957318"/>
                  <a:pt x="8408292" y="3957318"/>
                  <a:pt x="8187313" y="4337857"/>
                </a:cubicBezTo>
                <a:cubicBezTo>
                  <a:pt x="8173978" y="4362531"/>
                  <a:pt x="8147308" y="4377714"/>
                  <a:pt x="8119685" y="4377714"/>
                </a:cubicBezTo>
                <a:cubicBezTo>
                  <a:pt x="8119685" y="4377714"/>
                  <a:pt x="8119685" y="4377714"/>
                  <a:pt x="7678681" y="4377714"/>
                </a:cubicBezTo>
                <a:cubicBezTo>
                  <a:pt x="7650106" y="4377714"/>
                  <a:pt x="7624388" y="4362531"/>
                  <a:pt x="7610101" y="4337857"/>
                </a:cubicBezTo>
                <a:cubicBezTo>
                  <a:pt x="7610101" y="4337857"/>
                  <a:pt x="7610101" y="4337857"/>
                  <a:pt x="7390076" y="3957318"/>
                </a:cubicBezTo>
                <a:cubicBezTo>
                  <a:pt x="7375787" y="3933593"/>
                  <a:pt x="7375787" y="3903225"/>
                  <a:pt x="7390076" y="3879501"/>
                </a:cubicBezTo>
                <a:cubicBezTo>
                  <a:pt x="7390076" y="3879501"/>
                  <a:pt x="7390076" y="3879501"/>
                  <a:pt x="7610101" y="3498961"/>
                </a:cubicBezTo>
                <a:cubicBezTo>
                  <a:pt x="7624388" y="3474287"/>
                  <a:pt x="7650106" y="3459104"/>
                  <a:pt x="7678681" y="3459104"/>
                </a:cubicBezTo>
                <a:close/>
                <a:moveTo>
                  <a:pt x="9108816" y="2082751"/>
                </a:moveTo>
                <a:cubicBezTo>
                  <a:pt x="9108816" y="2082751"/>
                  <a:pt x="9108816" y="2082751"/>
                  <a:pt x="9876937" y="2082751"/>
                </a:cubicBezTo>
                <a:cubicBezTo>
                  <a:pt x="9925048" y="2082751"/>
                  <a:pt x="9971500" y="2109197"/>
                  <a:pt x="9994727" y="2152172"/>
                </a:cubicBezTo>
                <a:cubicBezTo>
                  <a:pt x="9994727" y="2152172"/>
                  <a:pt x="9994727" y="2152172"/>
                  <a:pt x="10379617" y="2814978"/>
                </a:cubicBezTo>
                <a:cubicBezTo>
                  <a:pt x="10404502" y="2856301"/>
                  <a:pt x="10404502" y="2909193"/>
                  <a:pt x="10379617" y="2950515"/>
                </a:cubicBezTo>
                <a:cubicBezTo>
                  <a:pt x="10379617" y="2950515"/>
                  <a:pt x="10379617" y="2950515"/>
                  <a:pt x="9994727" y="3613321"/>
                </a:cubicBezTo>
                <a:cubicBezTo>
                  <a:pt x="9971500" y="3656296"/>
                  <a:pt x="9925048" y="3682742"/>
                  <a:pt x="9876937" y="3682742"/>
                </a:cubicBezTo>
                <a:cubicBezTo>
                  <a:pt x="9876937" y="3682742"/>
                  <a:pt x="9876937" y="3682742"/>
                  <a:pt x="9108816" y="3682742"/>
                </a:cubicBezTo>
                <a:cubicBezTo>
                  <a:pt x="9059045" y="3682742"/>
                  <a:pt x="9014252" y="3656296"/>
                  <a:pt x="8989367" y="3613321"/>
                </a:cubicBezTo>
                <a:cubicBezTo>
                  <a:pt x="8989367" y="3613321"/>
                  <a:pt x="8989367" y="3613321"/>
                  <a:pt x="8606137" y="2950515"/>
                </a:cubicBezTo>
                <a:cubicBezTo>
                  <a:pt x="8581251" y="2909193"/>
                  <a:pt x="8581251" y="2856301"/>
                  <a:pt x="8606137" y="2814978"/>
                </a:cubicBezTo>
                <a:cubicBezTo>
                  <a:pt x="8606137" y="2814978"/>
                  <a:pt x="8606137" y="2814978"/>
                  <a:pt x="8989367" y="2152172"/>
                </a:cubicBezTo>
                <a:cubicBezTo>
                  <a:pt x="9014252" y="2109197"/>
                  <a:pt x="9059045" y="2082751"/>
                  <a:pt x="9108816" y="2082751"/>
                </a:cubicBezTo>
                <a:close/>
                <a:moveTo>
                  <a:pt x="1321854" y="2071857"/>
                </a:moveTo>
                <a:cubicBezTo>
                  <a:pt x="1321854" y="2071857"/>
                  <a:pt x="1321854" y="2071857"/>
                  <a:pt x="5365317" y="2071857"/>
                </a:cubicBezTo>
                <a:cubicBezTo>
                  <a:pt x="5618580" y="2071857"/>
                  <a:pt x="5863108" y="2211072"/>
                  <a:pt x="5985373" y="2437296"/>
                </a:cubicBezTo>
                <a:cubicBezTo>
                  <a:pt x="5985373" y="2437296"/>
                  <a:pt x="5985373" y="2437296"/>
                  <a:pt x="8011470" y="5926372"/>
                </a:cubicBezTo>
                <a:cubicBezTo>
                  <a:pt x="8142468" y="6143896"/>
                  <a:pt x="8142468" y="6422327"/>
                  <a:pt x="8011470" y="6639850"/>
                </a:cubicBezTo>
                <a:cubicBezTo>
                  <a:pt x="8011470" y="6639850"/>
                  <a:pt x="8011470" y="6639850"/>
                  <a:pt x="7904625" y="6823844"/>
                </a:cubicBezTo>
                <a:lnTo>
                  <a:pt x="7884791" y="6858000"/>
                </a:lnTo>
                <a:lnTo>
                  <a:pt x="0" y="6858000"/>
                </a:lnTo>
                <a:lnTo>
                  <a:pt x="0" y="3635967"/>
                </a:lnTo>
                <a:lnTo>
                  <a:pt x="27177" y="3588964"/>
                </a:lnTo>
                <a:cubicBezTo>
                  <a:pt x="220245" y="3255048"/>
                  <a:pt x="440895" y="2873431"/>
                  <a:pt x="693065" y="2437296"/>
                </a:cubicBezTo>
                <a:cubicBezTo>
                  <a:pt x="824063" y="2211072"/>
                  <a:pt x="1059859" y="2071857"/>
                  <a:pt x="1321854" y="2071857"/>
                </a:cubicBezTo>
                <a:close/>
                <a:moveTo>
                  <a:pt x="6786399" y="753840"/>
                </a:moveTo>
                <a:cubicBezTo>
                  <a:pt x="6786399" y="753840"/>
                  <a:pt x="6786399" y="753840"/>
                  <a:pt x="8025968" y="753840"/>
                </a:cubicBezTo>
                <a:cubicBezTo>
                  <a:pt x="8103608" y="753840"/>
                  <a:pt x="8178571" y="796518"/>
                  <a:pt x="8216053" y="865869"/>
                </a:cubicBezTo>
                <a:cubicBezTo>
                  <a:pt x="8216053" y="865869"/>
                  <a:pt x="8216053" y="865869"/>
                  <a:pt x="8837177" y="1935484"/>
                </a:cubicBezTo>
                <a:cubicBezTo>
                  <a:pt x="8877335" y="2002169"/>
                  <a:pt x="8877335" y="2087523"/>
                  <a:pt x="8837177" y="2154207"/>
                </a:cubicBezTo>
                <a:cubicBezTo>
                  <a:pt x="8837177" y="2154207"/>
                  <a:pt x="8837177" y="2154207"/>
                  <a:pt x="8216053" y="3223823"/>
                </a:cubicBezTo>
                <a:cubicBezTo>
                  <a:pt x="8178571" y="3293174"/>
                  <a:pt x="8103608" y="3335852"/>
                  <a:pt x="8025968" y="3335852"/>
                </a:cubicBezTo>
                <a:cubicBezTo>
                  <a:pt x="8025968" y="3335852"/>
                  <a:pt x="8025968" y="3335852"/>
                  <a:pt x="6786399" y="3335852"/>
                </a:cubicBezTo>
                <a:cubicBezTo>
                  <a:pt x="6706082" y="3335852"/>
                  <a:pt x="6633796" y="3293174"/>
                  <a:pt x="6593637" y="3223823"/>
                </a:cubicBezTo>
                <a:cubicBezTo>
                  <a:pt x="6593637" y="3223823"/>
                  <a:pt x="6593637" y="3223823"/>
                  <a:pt x="5975192" y="2154207"/>
                </a:cubicBezTo>
                <a:cubicBezTo>
                  <a:pt x="5935033" y="2087523"/>
                  <a:pt x="5935033" y="2002169"/>
                  <a:pt x="5975192" y="1935484"/>
                </a:cubicBezTo>
                <a:cubicBezTo>
                  <a:pt x="5975192" y="1935484"/>
                  <a:pt x="5975192" y="1935484"/>
                  <a:pt x="6593637" y="865869"/>
                </a:cubicBezTo>
                <a:cubicBezTo>
                  <a:pt x="6633796" y="796518"/>
                  <a:pt x="6706082" y="753840"/>
                  <a:pt x="6786399" y="753840"/>
                </a:cubicBezTo>
                <a:close/>
                <a:moveTo>
                  <a:pt x="0" y="0"/>
                </a:moveTo>
                <a:lnTo>
                  <a:pt x="6966294" y="0"/>
                </a:lnTo>
                <a:lnTo>
                  <a:pt x="6852387" y="196155"/>
                </a:lnTo>
                <a:cubicBezTo>
                  <a:pt x="6627011" y="584267"/>
                  <a:pt x="6359899" y="1044253"/>
                  <a:pt x="6043321" y="1589421"/>
                </a:cubicBezTo>
                <a:cubicBezTo>
                  <a:pt x="5921057" y="1815646"/>
                  <a:pt x="5676528" y="1954861"/>
                  <a:pt x="5423265" y="1954861"/>
                </a:cubicBezTo>
                <a:cubicBezTo>
                  <a:pt x="5423265" y="1954861"/>
                  <a:pt x="5423265" y="1954861"/>
                  <a:pt x="1379802" y="1954861"/>
                </a:cubicBezTo>
                <a:cubicBezTo>
                  <a:pt x="1117807" y="1954861"/>
                  <a:pt x="882012" y="1815646"/>
                  <a:pt x="751013" y="1589421"/>
                </a:cubicBezTo>
                <a:cubicBezTo>
                  <a:pt x="751013" y="1589421"/>
                  <a:pt x="751013" y="1589421"/>
                  <a:pt x="1951" y="293901"/>
                </a:cubicBezTo>
                <a:lnTo>
                  <a:pt x="0" y="2905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160000" anchor="t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8293" y="3271757"/>
            <a:ext cx="4459766" cy="3146839"/>
          </a:xfrm>
          <a:prstGeom prst="roundRect">
            <a:avLst>
              <a:gd name="adj" fmla="val 2139"/>
            </a:avLst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  <a:lin ang="10800000" scaled="0"/>
          </a:gradFill>
          <a:ln>
            <a:solidFill>
              <a:schemeClr val="bg1">
                <a:lumMod val="50000"/>
              </a:schemeClr>
            </a:solidFill>
          </a:ln>
        </p:spPr>
        <p:txBody>
          <a:bodyPr lIns="180000" tIns="288000" rIns="180000" bIns="180000" anchor="t"/>
          <a:lstStyle>
            <a:lvl1pPr algn="l">
              <a:lnSpc>
                <a:spcPts val="4000"/>
              </a:lnSpc>
              <a:defRPr sz="5000" b="1" spc="-3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30300" y="5250494"/>
            <a:ext cx="4000500" cy="997905"/>
          </a:xfrm>
          <a:noFill/>
        </p:spPr>
        <p:txBody>
          <a:bodyPr lIns="0" tIns="0" rIns="0" bIns="0"/>
          <a:lstStyle>
            <a:lvl1pPr marL="0" indent="0" algn="l">
              <a:buNone/>
              <a:defRPr sz="21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40384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B0FE1C0F-474B-4310-A4A5-1EB4321DE50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673FA99E-5E31-474E-8818-615B453CD89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A0EE7FC-884E-43B5-B6D6-9156FBE9AB5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58C6DC6-901F-4F3E-97A4-1B55324C068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1041B359-9F78-4782-9C50-0B1DED37AD2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727656" y="6277243"/>
            <a:ext cx="464344" cy="400188"/>
          </a:xfrm>
        </p:spPr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90C5B8B-2AF3-42F3-B4F8-A806BB98A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91342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B0FE1C0F-474B-4310-A4A5-1EB4321DE50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673FA99E-5E31-474E-8818-615B453CD89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A0EE7FC-884E-43B5-B6D6-9156FBE9AB5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58C6DC6-901F-4F3E-97A4-1B55324C068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1041B359-9F78-4782-9C50-0B1DED37AD2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727656" y="6277243"/>
            <a:ext cx="464344" cy="400188"/>
          </a:xfrm>
        </p:spPr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90C5B8B-2AF3-42F3-B4F8-A806BB98A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3B1662-8902-44D0-A545-5008B483D1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78017" y="2169005"/>
            <a:ext cx="9035966" cy="2519990"/>
          </a:xfrm>
        </p:spPr>
        <p:txBody>
          <a:bodyPr anchor="ctr"/>
          <a:lstStyle>
            <a:lvl1pPr marL="0" indent="0" algn="ctr">
              <a:buNone/>
              <a:defRPr sz="6000"/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87573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>
            <a:extLst>
              <a:ext uri="{FF2B5EF4-FFF2-40B4-BE49-F238E27FC236}">
                <a16:creationId xmlns:a16="http://schemas.microsoft.com/office/drawing/2014/main" id="{B0FE1C0F-474B-4310-A4A5-1EB4321DE50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673FA99E-5E31-474E-8818-615B453CD89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A0EE7FC-884E-43B5-B6D6-9156FBE9AB5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58C6DC6-901F-4F3E-97A4-1B55324C068B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1041B359-9F78-4782-9C50-0B1DED37AD2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727656" y="6277243"/>
            <a:ext cx="464344" cy="400188"/>
          </a:xfrm>
        </p:spPr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397670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CE129D0-CB7B-444C-AF89-B1CB663E3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418374"/>
            <a:ext cx="8687356" cy="6439627"/>
          </a:xfrm>
          <a:custGeom>
            <a:avLst/>
            <a:gdLst>
              <a:gd name="connsiteX0" fmla="*/ 0 w 8687356"/>
              <a:gd name="connsiteY0" fmla="*/ 5592682 h 6439627"/>
              <a:gd name="connsiteX1" fmla="*/ 186296 w 8687356"/>
              <a:gd name="connsiteY1" fmla="*/ 5593149 h 6439627"/>
              <a:gd name="connsiteX2" fmla="*/ 1348900 w 8687356"/>
              <a:gd name="connsiteY2" fmla="*/ 5596063 h 6439627"/>
              <a:gd name="connsiteX3" fmla="*/ 1800991 w 8687356"/>
              <a:gd name="connsiteY3" fmla="*/ 5851702 h 6439627"/>
              <a:gd name="connsiteX4" fmla="*/ 2106366 w 8687356"/>
              <a:gd name="connsiteY4" fmla="*/ 6380627 h 6439627"/>
              <a:gd name="connsiteX5" fmla="*/ 2140430 w 8687356"/>
              <a:gd name="connsiteY5" fmla="*/ 6439627 h 6439627"/>
              <a:gd name="connsiteX6" fmla="*/ 0 w 8687356"/>
              <a:gd name="connsiteY6" fmla="*/ 6439627 h 6439627"/>
              <a:gd name="connsiteX7" fmla="*/ 693821 w 8687356"/>
              <a:gd name="connsiteY7" fmla="*/ 3646328 h 6439627"/>
              <a:gd name="connsiteX8" fmla="*/ 1586357 w 8687356"/>
              <a:gd name="connsiteY8" fmla="*/ 3648566 h 6439627"/>
              <a:gd name="connsiteX9" fmla="*/ 1724950 w 8687356"/>
              <a:gd name="connsiteY9" fmla="*/ 3726935 h 6439627"/>
              <a:gd name="connsiteX10" fmla="*/ 2172189 w 8687356"/>
              <a:gd name="connsiteY10" fmla="*/ 4501577 h 6439627"/>
              <a:gd name="connsiteX11" fmla="*/ 2171729 w 8687356"/>
              <a:gd name="connsiteY11" fmla="*/ 4662459 h 6439627"/>
              <a:gd name="connsiteX12" fmla="*/ 1726432 w 8687356"/>
              <a:gd name="connsiteY12" fmla="*/ 5434863 h 6439627"/>
              <a:gd name="connsiteX13" fmla="*/ 1589746 w 8687356"/>
              <a:gd name="connsiteY13" fmla="*/ 5513779 h 6439627"/>
              <a:gd name="connsiteX14" fmla="*/ 698177 w 8687356"/>
              <a:gd name="connsiteY14" fmla="*/ 5513215 h 6439627"/>
              <a:gd name="connsiteX15" fmla="*/ 558617 w 8687356"/>
              <a:gd name="connsiteY15" fmla="*/ 5433172 h 6439627"/>
              <a:gd name="connsiteX16" fmla="*/ 111378 w 8687356"/>
              <a:gd name="connsiteY16" fmla="*/ 4658531 h 6439627"/>
              <a:gd name="connsiteX17" fmla="*/ 112805 w 8687356"/>
              <a:gd name="connsiteY17" fmla="*/ 4499321 h 6439627"/>
              <a:gd name="connsiteX18" fmla="*/ 557135 w 8687356"/>
              <a:gd name="connsiteY18" fmla="*/ 3725244 h 6439627"/>
              <a:gd name="connsiteX19" fmla="*/ 693821 w 8687356"/>
              <a:gd name="connsiteY19" fmla="*/ 3646328 h 6439627"/>
              <a:gd name="connsiteX20" fmla="*/ 1975378 w 8687356"/>
              <a:gd name="connsiteY20" fmla="*/ 3263784 h 6439627"/>
              <a:gd name="connsiteX21" fmla="*/ 2292917 w 8687356"/>
              <a:gd name="connsiteY21" fmla="*/ 3264581 h 6439627"/>
              <a:gd name="connsiteX22" fmla="*/ 2342225 w 8687356"/>
              <a:gd name="connsiteY22" fmla="*/ 3292462 h 6439627"/>
              <a:gd name="connsiteX23" fmla="*/ 2501341 w 8687356"/>
              <a:gd name="connsiteY23" fmla="*/ 3568059 h 6439627"/>
              <a:gd name="connsiteX24" fmla="*/ 2501177 w 8687356"/>
              <a:gd name="connsiteY24" fmla="*/ 3625297 h 6439627"/>
              <a:gd name="connsiteX25" fmla="*/ 2342753 w 8687356"/>
              <a:gd name="connsiteY25" fmla="*/ 3900096 h 6439627"/>
              <a:gd name="connsiteX26" fmla="*/ 2294123 w 8687356"/>
              <a:gd name="connsiteY26" fmla="*/ 3928173 h 6439627"/>
              <a:gd name="connsiteX27" fmla="*/ 1976927 w 8687356"/>
              <a:gd name="connsiteY27" fmla="*/ 3927972 h 6439627"/>
              <a:gd name="connsiteX28" fmla="*/ 1927275 w 8687356"/>
              <a:gd name="connsiteY28" fmla="*/ 3899495 h 6439627"/>
              <a:gd name="connsiteX29" fmla="*/ 1768160 w 8687356"/>
              <a:gd name="connsiteY29" fmla="*/ 3623899 h 6439627"/>
              <a:gd name="connsiteX30" fmla="*/ 1768668 w 8687356"/>
              <a:gd name="connsiteY30" fmla="*/ 3567256 h 6439627"/>
              <a:gd name="connsiteX31" fmla="*/ 1926748 w 8687356"/>
              <a:gd name="connsiteY31" fmla="*/ 3291861 h 6439627"/>
              <a:gd name="connsiteX32" fmla="*/ 1975378 w 8687356"/>
              <a:gd name="connsiteY32" fmla="*/ 3263784 h 6439627"/>
              <a:gd name="connsiteX33" fmla="*/ 2130702 w 8687356"/>
              <a:gd name="connsiteY33" fmla="*/ 2828022 h 6439627"/>
              <a:gd name="connsiteX34" fmla="*/ 2298374 w 8687356"/>
              <a:gd name="connsiteY34" fmla="*/ 2828442 h 6439627"/>
              <a:gd name="connsiteX35" fmla="*/ 2324410 w 8687356"/>
              <a:gd name="connsiteY35" fmla="*/ 2843165 h 6439627"/>
              <a:gd name="connsiteX36" fmla="*/ 2408429 w 8687356"/>
              <a:gd name="connsiteY36" fmla="*/ 2988689 h 6439627"/>
              <a:gd name="connsiteX37" fmla="*/ 2408342 w 8687356"/>
              <a:gd name="connsiteY37" fmla="*/ 3018913 h 6439627"/>
              <a:gd name="connsiteX38" fmla="*/ 2324689 w 8687356"/>
              <a:gd name="connsiteY38" fmla="*/ 3164017 h 6439627"/>
              <a:gd name="connsiteX39" fmla="*/ 2299011 w 8687356"/>
              <a:gd name="connsiteY39" fmla="*/ 3178842 h 6439627"/>
              <a:gd name="connsiteX40" fmla="*/ 2131520 w 8687356"/>
              <a:gd name="connsiteY40" fmla="*/ 3178736 h 6439627"/>
              <a:gd name="connsiteX41" fmla="*/ 2105302 w 8687356"/>
              <a:gd name="connsiteY41" fmla="*/ 3163699 h 6439627"/>
              <a:gd name="connsiteX42" fmla="*/ 2021284 w 8687356"/>
              <a:gd name="connsiteY42" fmla="*/ 3018175 h 6439627"/>
              <a:gd name="connsiteX43" fmla="*/ 2021552 w 8687356"/>
              <a:gd name="connsiteY43" fmla="*/ 2988265 h 6439627"/>
              <a:gd name="connsiteX44" fmla="*/ 2105024 w 8687356"/>
              <a:gd name="connsiteY44" fmla="*/ 2842847 h 6439627"/>
              <a:gd name="connsiteX45" fmla="*/ 2130702 w 8687356"/>
              <a:gd name="connsiteY45" fmla="*/ 2828022 h 6439627"/>
              <a:gd name="connsiteX46" fmla="*/ 3794942 w 8687356"/>
              <a:gd name="connsiteY46" fmla="*/ 2543905 h 6439627"/>
              <a:gd name="connsiteX47" fmla="*/ 6706383 w 8687356"/>
              <a:gd name="connsiteY47" fmla="*/ 2551204 h 6439627"/>
              <a:gd name="connsiteX48" fmla="*/ 7158474 w 8687356"/>
              <a:gd name="connsiteY48" fmla="*/ 2806842 h 6439627"/>
              <a:gd name="connsiteX49" fmla="*/ 8617364 w 8687356"/>
              <a:gd name="connsiteY49" fmla="*/ 5333715 h 6439627"/>
              <a:gd name="connsiteX50" fmla="*/ 8615859 w 8687356"/>
              <a:gd name="connsiteY50" fmla="*/ 5858514 h 6439627"/>
              <a:gd name="connsiteX51" fmla="*/ 8311811 w 8687356"/>
              <a:gd name="connsiteY51" fmla="*/ 6385912 h 6439627"/>
              <a:gd name="connsiteX52" fmla="*/ 8280844 w 8687356"/>
              <a:gd name="connsiteY52" fmla="*/ 6439627 h 6439627"/>
              <a:gd name="connsiteX53" fmla="*/ 2237916 w 8687356"/>
              <a:gd name="connsiteY53" fmla="*/ 6439627 h 6439627"/>
              <a:gd name="connsiteX54" fmla="*/ 2151815 w 8687356"/>
              <a:gd name="connsiteY54" fmla="*/ 6290497 h 6439627"/>
              <a:gd name="connsiteX55" fmla="*/ 1895013 w 8687356"/>
              <a:gd name="connsiteY55" fmla="*/ 5845703 h 6439627"/>
              <a:gd name="connsiteX56" fmla="*/ 1899669 w 8687356"/>
              <a:gd name="connsiteY56" fmla="*/ 5326361 h 6439627"/>
              <a:gd name="connsiteX57" fmla="*/ 3349069 w 8687356"/>
              <a:gd name="connsiteY57" fmla="*/ 2801330 h 6439627"/>
              <a:gd name="connsiteX58" fmla="*/ 3794942 w 8687356"/>
              <a:gd name="connsiteY58" fmla="*/ 2543905 h 6439627"/>
              <a:gd name="connsiteX59" fmla="*/ 634940 w 8687356"/>
              <a:gd name="connsiteY59" fmla="*/ 2395105 h 6439627"/>
              <a:gd name="connsiteX60" fmla="*/ 1188015 w 8687356"/>
              <a:gd name="connsiteY60" fmla="*/ 2396492 h 6439627"/>
              <a:gd name="connsiteX61" fmla="*/ 1273897 w 8687356"/>
              <a:gd name="connsiteY61" fmla="*/ 2445054 h 6439627"/>
              <a:gd name="connsiteX62" fmla="*/ 1551037 w 8687356"/>
              <a:gd name="connsiteY62" fmla="*/ 2925075 h 6439627"/>
              <a:gd name="connsiteX63" fmla="*/ 1550752 w 8687356"/>
              <a:gd name="connsiteY63" fmla="*/ 3024769 h 6439627"/>
              <a:gd name="connsiteX64" fmla="*/ 1274816 w 8687356"/>
              <a:gd name="connsiteY64" fmla="*/ 3503403 h 6439627"/>
              <a:gd name="connsiteX65" fmla="*/ 1190116 w 8687356"/>
              <a:gd name="connsiteY65" fmla="*/ 3552304 h 6439627"/>
              <a:gd name="connsiteX66" fmla="*/ 637639 w 8687356"/>
              <a:gd name="connsiteY66" fmla="*/ 3551955 h 6439627"/>
              <a:gd name="connsiteX67" fmla="*/ 551158 w 8687356"/>
              <a:gd name="connsiteY67" fmla="*/ 3502355 h 6439627"/>
              <a:gd name="connsiteX68" fmla="*/ 274018 w 8687356"/>
              <a:gd name="connsiteY68" fmla="*/ 3022335 h 6439627"/>
              <a:gd name="connsiteX69" fmla="*/ 274903 w 8687356"/>
              <a:gd name="connsiteY69" fmla="*/ 2923678 h 6439627"/>
              <a:gd name="connsiteX70" fmla="*/ 550240 w 8687356"/>
              <a:gd name="connsiteY70" fmla="*/ 2444007 h 6439627"/>
              <a:gd name="connsiteX71" fmla="*/ 634940 w 8687356"/>
              <a:gd name="connsiteY71" fmla="*/ 2395105 h 6439627"/>
              <a:gd name="connsiteX72" fmla="*/ 2521339 w 8687356"/>
              <a:gd name="connsiteY72" fmla="*/ 1975621 h 6439627"/>
              <a:gd name="connsiteX73" fmla="*/ 2985874 w 8687356"/>
              <a:gd name="connsiteY73" fmla="*/ 1976785 h 6439627"/>
              <a:gd name="connsiteX74" fmla="*/ 3058007 w 8687356"/>
              <a:gd name="connsiteY74" fmla="*/ 2017574 h 6439627"/>
              <a:gd name="connsiteX75" fmla="*/ 3290779 w 8687356"/>
              <a:gd name="connsiteY75" fmla="*/ 2420748 h 6439627"/>
              <a:gd name="connsiteX76" fmla="*/ 3290540 w 8687356"/>
              <a:gd name="connsiteY76" fmla="*/ 2504482 h 6439627"/>
              <a:gd name="connsiteX77" fmla="*/ 3058778 w 8687356"/>
              <a:gd name="connsiteY77" fmla="*/ 2906492 h 6439627"/>
              <a:gd name="connsiteX78" fmla="*/ 2987637 w 8687356"/>
              <a:gd name="connsiteY78" fmla="*/ 2947565 h 6439627"/>
              <a:gd name="connsiteX79" fmla="*/ 2523606 w 8687356"/>
              <a:gd name="connsiteY79" fmla="*/ 2947271 h 6439627"/>
              <a:gd name="connsiteX80" fmla="*/ 2450970 w 8687356"/>
              <a:gd name="connsiteY80" fmla="*/ 2905612 h 6439627"/>
              <a:gd name="connsiteX81" fmla="*/ 2218197 w 8687356"/>
              <a:gd name="connsiteY81" fmla="*/ 2502438 h 6439627"/>
              <a:gd name="connsiteX82" fmla="*/ 2218941 w 8687356"/>
              <a:gd name="connsiteY82" fmla="*/ 2419574 h 6439627"/>
              <a:gd name="connsiteX83" fmla="*/ 2450199 w 8687356"/>
              <a:gd name="connsiteY83" fmla="*/ 2016694 h 6439627"/>
              <a:gd name="connsiteX84" fmla="*/ 2521339 w 8687356"/>
              <a:gd name="connsiteY84" fmla="*/ 1975621 h 6439627"/>
              <a:gd name="connsiteX85" fmla="*/ 3564142 w 8687356"/>
              <a:gd name="connsiteY85" fmla="*/ 34 h 6439627"/>
              <a:gd name="connsiteX86" fmla="*/ 4738405 w 8687356"/>
              <a:gd name="connsiteY86" fmla="*/ 2977 h 6439627"/>
              <a:gd name="connsiteX87" fmla="*/ 4920745 w 8687356"/>
              <a:gd name="connsiteY87" fmla="*/ 106084 h 6439627"/>
              <a:gd name="connsiteX88" fmla="*/ 5509155 w 8687356"/>
              <a:gd name="connsiteY88" fmla="*/ 1125240 h 6439627"/>
              <a:gd name="connsiteX89" fmla="*/ 5508549 w 8687356"/>
              <a:gd name="connsiteY89" fmla="*/ 1336906 h 6439627"/>
              <a:gd name="connsiteX90" fmla="*/ 4922696 w 8687356"/>
              <a:gd name="connsiteY90" fmla="*/ 2353119 h 6439627"/>
              <a:gd name="connsiteX91" fmla="*/ 4742864 w 8687356"/>
              <a:gd name="connsiteY91" fmla="*/ 2456945 h 6439627"/>
              <a:gd name="connsiteX92" fmla="*/ 3569871 w 8687356"/>
              <a:gd name="connsiteY92" fmla="*/ 2456203 h 6439627"/>
              <a:gd name="connsiteX93" fmla="*/ 3386259 w 8687356"/>
              <a:gd name="connsiteY93" fmla="*/ 2350896 h 6439627"/>
              <a:gd name="connsiteX94" fmla="*/ 2797848 w 8687356"/>
              <a:gd name="connsiteY94" fmla="*/ 1331739 h 6439627"/>
              <a:gd name="connsiteX95" fmla="*/ 2799727 w 8687356"/>
              <a:gd name="connsiteY95" fmla="*/ 1122274 h 6439627"/>
              <a:gd name="connsiteX96" fmla="*/ 3384310 w 8687356"/>
              <a:gd name="connsiteY96" fmla="*/ 103860 h 6439627"/>
              <a:gd name="connsiteX97" fmla="*/ 3564142 w 8687356"/>
              <a:gd name="connsiteY97" fmla="*/ 34 h 6439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8687356" h="6439627">
                <a:moveTo>
                  <a:pt x="0" y="5592682"/>
                </a:moveTo>
                <a:lnTo>
                  <a:pt x="186296" y="5593149"/>
                </a:lnTo>
                <a:cubicBezTo>
                  <a:pt x="510155" y="5593961"/>
                  <a:pt x="893987" y="5594923"/>
                  <a:pt x="1348900" y="5596063"/>
                </a:cubicBezTo>
                <a:cubicBezTo>
                  <a:pt x="1534387" y="5590847"/>
                  <a:pt x="1709614" y="5693431"/>
                  <a:pt x="1800991" y="5851702"/>
                </a:cubicBezTo>
                <a:cubicBezTo>
                  <a:pt x="1800991" y="5851702"/>
                  <a:pt x="1800991" y="5851702"/>
                  <a:pt x="2106366" y="6380627"/>
                </a:cubicBezTo>
                <a:lnTo>
                  <a:pt x="2140430" y="6439627"/>
                </a:lnTo>
                <a:lnTo>
                  <a:pt x="0" y="6439627"/>
                </a:lnTo>
                <a:close/>
                <a:moveTo>
                  <a:pt x="693821" y="3646328"/>
                </a:moveTo>
                <a:cubicBezTo>
                  <a:pt x="693821" y="3646328"/>
                  <a:pt x="693821" y="3646328"/>
                  <a:pt x="1586357" y="3648566"/>
                </a:cubicBezTo>
                <a:cubicBezTo>
                  <a:pt x="1643220" y="3646968"/>
                  <a:pt x="1696937" y="3678416"/>
                  <a:pt x="1724950" y="3726935"/>
                </a:cubicBezTo>
                <a:cubicBezTo>
                  <a:pt x="1724950" y="3726935"/>
                  <a:pt x="1724950" y="3726935"/>
                  <a:pt x="2172189" y="4501577"/>
                </a:cubicBezTo>
                <a:cubicBezTo>
                  <a:pt x="2201168" y="4551769"/>
                  <a:pt x="2200578" y="4612341"/>
                  <a:pt x="2171729" y="4662459"/>
                </a:cubicBezTo>
                <a:cubicBezTo>
                  <a:pt x="2171729" y="4662459"/>
                  <a:pt x="2171729" y="4662459"/>
                  <a:pt x="1726432" y="5434863"/>
                </a:cubicBezTo>
                <a:cubicBezTo>
                  <a:pt x="1699249" y="5484020"/>
                  <a:pt x="1645909" y="5514815"/>
                  <a:pt x="1589746" y="5513779"/>
                </a:cubicBezTo>
                <a:cubicBezTo>
                  <a:pt x="1589746" y="5513779"/>
                  <a:pt x="1589746" y="5513779"/>
                  <a:pt x="698177" y="5513215"/>
                </a:cubicBezTo>
                <a:cubicBezTo>
                  <a:pt x="640348" y="5513140"/>
                  <a:pt x="587596" y="5483366"/>
                  <a:pt x="558617" y="5433172"/>
                </a:cubicBezTo>
                <a:cubicBezTo>
                  <a:pt x="558617" y="5433172"/>
                  <a:pt x="558617" y="5433172"/>
                  <a:pt x="111378" y="4658531"/>
                </a:cubicBezTo>
                <a:cubicBezTo>
                  <a:pt x="83365" y="4610012"/>
                  <a:pt x="82990" y="4547767"/>
                  <a:pt x="112805" y="4499321"/>
                </a:cubicBezTo>
                <a:cubicBezTo>
                  <a:pt x="112805" y="4499321"/>
                  <a:pt x="112805" y="4499321"/>
                  <a:pt x="557135" y="3725244"/>
                </a:cubicBezTo>
                <a:cubicBezTo>
                  <a:pt x="584319" y="3676088"/>
                  <a:pt x="637659" y="3645292"/>
                  <a:pt x="693821" y="3646328"/>
                </a:cubicBezTo>
                <a:close/>
                <a:moveTo>
                  <a:pt x="1975378" y="3263784"/>
                </a:moveTo>
                <a:cubicBezTo>
                  <a:pt x="1975378" y="3263784"/>
                  <a:pt x="1975378" y="3263784"/>
                  <a:pt x="2292917" y="3264581"/>
                </a:cubicBezTo>
                <a:cubicBezTo>
                  <a:pt x="2313148" y="3264012"/>
                  <a:pt x="2332259" y="3275200"/>
                  <a:pt x="2342225" y="3292462"/>
                </a:cubicBezTo>
                <a:cubicBezTo>
                  <a:pt x="2342225" y="3292462"/>
                  <a:pt x="2342225" y="3292462"/>
                  <a:pt x="2501341" y="3568059"/>
                </a:cubicBezTo>
                <a:cubicBezTo>
                  <a:pt x="2511651" y="3585916"/>
                  <a:pt x="2511441" y="3607466"/>
                  <a:pt x="2501177" y="3625297"/>
                </a:cubicBezTo>
                <a:cubicBezTo>
                  <a:pt x="2501177" y="3625297"/>
                  <a:pt x="2501177" y="3625297"/>
                  <a:pt x="2342753" y="3900096"/>
                </a:cubicBezTo>
                <a:cubicBezTo>
                  <a:pt x="2333082" y="3917585"/>
                  <a:pt x="2314104" y="3928542"/>
                  <a:pt x="2294123" y="3928173"/>
                </a:cubicBezTo>
                <a:cubicBezTo>
                  <a:pt x="2294123" y="3928173"/>
                  <a:pt x="2294123" y="3928173"/>
                  <a:pt x="1976927" y="3927972"/>
                </a:cubicBezTo>
                <a:cubicBezTo>
                  <a:pt x="1956353" y="3927946"/>
                  <a:pt x="1937585" y="3917353"/>
                  <a:pt x="1927275" y="3899495"/>
                </a:cubicBezTo>
                <a:cubicBezTo>
                  <a:pt x="1927275" y="3899495"/>
                  <a:pt x="1927275" y="3899495"/>
                  <a:pt x="1768160" y="3623899"/>
                </a:cubicBezTo>
                <a:cubicBezTo>
                  <a:pt x="1758193" y="3606636"/>
                  <a:pt x="1758060" y="3584492"/>
                  <a:pt x="1768668" y="3567256"/>
                </a:cubicBezTo>
                <a:cubicBezTo>
                  <a:pt x="1768668" y="3567256"/>
                  <a:pt x="1768668" y="3567256"/>
                  <a:pt x="1926748" y="3291861"/>
                </a:cubicBezTo>
                <a:cubicBezTo>
                  <a:pt x="1936419" y="3274372"/>
                  <a:pt x="1955397" y="3263416"/>
                  <a:pt x="1975378" y="3263784"/>
                </a:cubicBezTo>
                <a:close/>
                <a:moveTo>
                  <a:pt x="2130702" y="2828022"/>
                </a:moveTo>
                <a:cubicBezTo>
                  <a:pt x="2130702" y="2828022"/>
                  <a:pt x="2130702" y="2828022"/>
                  <a:pt x="2298374" y="2828442"/>
                </a:cubicBezTo>
                <a:cubicBezTo>
                  <a:pt x="2309057" y="2828143"/>
                  <a:pt x="2319148" y="2834050"/>
                  <a:pt x="2324410" y="2843165"/>
                </a:cubicBezTo>
                <a:cubicBezTo>
                  <a:pt x="2324410" y="2843165"/>
                  <a:pt x="2324410" y="2843165"/>
                  <a:pt x="2408429" y="2988689"/>
                </a:cubicBezTo>
                <a:cubicBezTo>
                  <a:pt x="2413873" y="2998119"/>
                  <a:pt x="2413762" y="3009498"/>
                  <a:pt x="2408342" y="3018913"/>
                </a:cubicBezTo>
                <a:cubicBezTo>
                  <a:pt x="2408342" y="3018913"/>
                  <a:pt x="2408342" y="3018913"/>
                  <a:pt x="2324689" y="3164017"/>
                </a:cubicBezTo>
                <a:cubicBezTo>
                  <a:pt x="2319583" y="3173251"/>
                  <a:pt x="2309561" y="3179037"/>
                  <a:pt x="2299011" y="3178842"/>
                </a:cubicBezTo>
                <a:cubicBezTo>
                  <a:pt x="2299011" y="3178842"/>
                  <a:pt x="2299011" y="3178842"/>
                  <a:pt x="2131520" y="3178736"/>
                </a:cubicBezTo>
                <a:cubicBezTo>
                  <a:pt x="2120657" y="3178722"/>
                  <a:pt x="2110746" y="3173129"/>
                  <a:pt x="2105302" y="3163699"/>
                </a:cubicBezTo>
                <a:cubicBezTo>
                  <a:pt x="2105302" y="3163699"/>
                  <a:pt x="2105302" y="3163699"/>
                  <a:pt x="2021284" y="3018175"/>
                </a:cubicBezTo>
                <a:cubicBezTo>
                  <a:pt x="2016021" y="3009060"/>
                  <a:pt x="2015951" y="2997367"/>
                  <a:pt x="2021552" y="2988265"/>
                </a:cubicBezTo>
                <a:cubicBezTo>
                  <a:pt x="2021552" y="2988265"/>
                  <a:pt x="2021552" y="2988265"/>
                  <a:pt x="2105024" y="2842847"/>
                </a:cubicBezTo>
                <a:cubicBezTo>
                  <a:pt x="2110131" y="2833613"/>
                  <a:pt x="2120152" y="2827827"/>
                  <a:pt x="2130702" y="2828022"/>
                </a:cubicBezTo>
                <a:close/>
                <a:moveTo>
                  <a:pt x="3794942" y="2543905"/>
                </a:moveTo>
                <a:cubicBezTo>
                  <a:pt x="3794942" y="2543905"/>
                  <a:pt x="3794942" y="2543905"/>
                  <a:pt x="6706383" y="2551204"/>
                </a:cubicBezTo>
                <a:cubicBezTo>
                  <a:pt x="6891871" y="2545988"/>
                  <a:pt x="7067096" y="2648572"/>
                  <a:pt x="7158474" y="2806842"/>
                </a:cubicBezTo>
                <a:cubicBezTo>
                  <a:pt x="7158474" y="2806842"/>
                  <a:pt x="7158474" y="2806842"/>
                  <a:pt x="8617364" y="5333715"/>
                </a:cubicBezTo>
                <a:cubicBezTo>
                  <a:pt x="8711893" y="5497443"/>
                  <a:pt x="8709969" y="5695027"/>
                  <a:pt x="8615859" y="5858514"/>
                </a:cubicBezTo>
                <a:cubicBezTo>
                  <a:pt x="8615859" y="5858514"/>
                  <a:pt x="8615859" y="5858514"/>
                  <a:pt x="8311811" y="6385912"/>
                </a:cubicBezTo>
                <a:lnTo>
                  <a:pt x="8280844" y="6439627"/>
                </a:lnTo>
                <a:lnTo>
                  <a:pt x="2237916" y="6439627"/>
                </a:lnTo>
                <a:lnTo>
                  <a:pt x="2151815" y="6290497"/>
                </a:lnTo>
                <a:cubicBezTo>
                  <a:pt x="2071676" y="6151692"/>
                  <a:pt x="1986194" y="6003633"/>
                  <a:pt x="1895013" y="5845703"/>
                </a:cubicBezTo>
                <a:cubicBezTo>
                  <a:pt x="1803636" y="5687432"/>
                  <a:pt x="1802408" y="5484390"/>
                  <a:pt x="1899669" y="5326361"/>
                </a:cubicBezTo>
                <a:cubicBezTo>
                  <a:pt x="1899669" y="5326361"/>
                  <a:pt x="1899669" y="5326361"/>
                  <a:pt x="3349069" y="2801330"/>
                </a:cubicBezTo>
                <a:cubicBezTo>
                  <a:pt x="3437742" y="2640982"/>
                  <a:pt x="3611741" y="2540524"/>
                  <a:pt x="3794942" y="2543905"/>
                </a:cubicBezTo>
                <a:close/>
                <a:moveTo>
                  <a:pt x="634940" y="2395105"/>
                </a:moveTo>
                <a:cubicBezTo>
                  <a:pt x="634940" y="2395105"/>
                  <a:pt x="634940" y="2395105"/>
                  <a:pt x="1188015" y="2396492"/>
                </a:cubicBezTo>
                <a:cubicBezTo>
                  <a:pt x="1223252" y="2395501"/>
                  <a:pt x="1256539" y="2414988"/>
                  <a:pt x="1273897" y="2445054"/>
                </a:cubicBezTo>
                <a:cubicBezTo>
                  <a:pt x="1273897" y="2445054"/>
                  <a:pt x="1273897" y="2445054"/>
                  <a:pt x="1551037" y="2925075"/>
                </a:cubicBezTo>
                <a:cubicBezTo>
                  <a:pt x="1568994" y="2956177"/>
                  <a:pt x="1568629" y="2993712"/>
                  <a:pt x="1550752" y="3024769"/>
                </a:cubicBezTo>
                <a:cubicBezTo>
                  <a:pt x="1550752" y="3024769"/>
                  <a:pt x="1550752" y="3024769"/>
                  <a:pt x="1274816" y="3503403"/>
                </a:cubicBezTo>
                <a:cubicBezTo>
                  <a:pt x="1257971" y="3533863"/>
                  <a:pt x="1224917" y="3552947"/>
                  <a:pt x="1190116" y="3552304"/>
                </a:cubicBezTo>
                <a:cubicBezTo>
                  <a:pt x="1190116" y="3552304"/>
                  <a:pt x="1190116" y="3552304"/>
                  <a:pt x="637639" y="3551955"/>
                </a:cubicBezTo>
                <a:cubicBezTo>
                  <a:pt x="601804" y="3551909"/>
                  <a:pt x="569115" y="3533458"/>
                  <a:pt x="551158" y="3502355"/>
                </a:cubicBezTo>
                <a:cubicBezTo>
                  <a:pt x="551158" y="3502355"/>
                  <a:pt x="551158" y="3502355"/>
                  <a:pt x="274018" y="3022335"/>
                </a:cubicBezTo>
                <a:cubicBezTo>
                  <a:pt x="256660" y="2992269"/>
                  <a:pt x="256426" y="2953698"/>
                  <a:pt x="274903" y="2923678"/>
                </a:cubicBezTo>
                <a:cubicBezTo>
                  <a:pt x="274903" y="2923678"/>
                  <a:pt x="274903" y="2923678"/>
                  <a:pt x="550240" y="2444007"/>
                </a:cubicBezTo>
                <a:cubicBezTo>
                  <a:pt x="567085" y="2413547"/>
                  <a:pt x="600139" y="2394463"/>
                  <a:pt x="634940" y="2395105"/>
                </a:cubicBezTo>
                <a:close/>
                <a:moveTo>
                  <a:pt x="2521339" y="1975621"/>
                </a:moveTo>
                <a:cubicBezTo>
                  <a:pt x="2521339" y="1975621"/>
                  <a:pt x="2521339" y="1975621"/>
                  <a:pt x="2985874" y="1976785"/>
                </a:cubicBezTo>
                <a:cubicBezTo>
                  <a:pt x="3015469" y="1975952"/>
                  <a:pt x="3043427" y="1992321"/>
                  <a:pt x="3058007" y="2017574"/>
                </a:cubicBezTo>
                <a:cubicBezTo>
                  <a:pt x="3058007" y="2017574"/>
                  <a:pt x="3058007" y="2017574"/>
                  <a:pt x="3290779" y="2420748"/>
                </a:cubicBezTo>
                <a:cubicBezTo>
                  <a:pt x="3305862" y="2446871"/>
                  <a:pt x="3305555" y="2478396"/>
                  <a:pt x="3290540" y="2504482"/>
                </a:cubicBezTo>
                <a:cubicBezTo>
                  <a:pt x="3290540" y="2504482"/>
                  <a:pt x="3290540" y="2504482"/>
                  <a:pt x="3058778" y="2906492"/>
                </a:cubicBezTo>
                <a:cubicBezTo>
                  <a:pt x="3044630" y="2932076"/>
                  <a:pt x="3016868" y="2948104"/>
                  <a:pt x="2987637" y="2947565"/>
                </a:cubicBezTo>
                <a:cubicBezTo>
                  <a:pt x="2987637" y="2947565"/>
                  <a:pt x="2987637" y="2947565"/>
                  <a:pt x="2523606" y="2947271"/>
                </a:cubicBezTo>
                <a:cubicBezTo>
                  <a:pt x="2493508" y="2947232"/>
                  <a:pt x="2466052" y="2931735"/>
                  <a:pt x="2450970" y="2905612"/>
                </a:cubicBezTo>
                <a:cubicBezTo>
                  <a:pt x="2450970" y="2905612"/>
                  <a:pt x="2450970" y="2905612"/>
                  <a:pt x="2218197" y="2502438"/>
                </a:cubicBezTo>
                <a:cubicBezTo>
                  <a:pt x="2203617" y="2477185"/>
                  <a:pt x="2203422" y="2444788"/>
                  <a:pt x="2218941" y="2419574"/>
                </a:cubicBezTo>
                <a:cubicBezTo>
                  <a:pt x="2218941" y="2419574"/>
                  <a:pt x="2218941" y="2419574"/>
                  <a:pt x="2450199" y="2016694"/>
                </a:cubicBezTo>
                <a:cubicBezTo>
                  <a:pt x="2464347" y="1991110"/>
                  <a:pt x="2492109" y="1975081"/>
                  <a:pt x="2521339" y="1975621"/>
                </a:cubicBezTo>
                <a:close/>
                <a:moveTo>
                  <a:pt x="3564142" y="34"/>
                </a:moveTo>
                <a:cubicBezTo>
                  <a:pt x="3564142" y="34"/>
                  <a:pt x="3564142" y="34"/>
                  <a:pt x="4738405" y="2977"/>
                </a:cubicBezTo>
                <a:cubicBezTo>
                  <a:pt x="4813218" y="874"/>
                  <a:pt x="4883890" y="42249"/>
                  <a:pt x="4920745" y="106084"/>
                </a:cubicBezTo>
                <a:cubicBezTo>
                  <a:pt x="4920745" y="106084"/>
                  <a:pt x="4920745" y="106084"/>
                  <a:pt x="5509155" y="1125240"/>
                </a:cubicBezTo>
                <a:cubicBezTo>
                  <a:pt x="5547281" y="1191277"/>
                  <a:pt x="5546507" y="1270967"/>
                  <a:pt x="5508549" y="1336906"/>
                </a:cubicBezTo>
                <a:cubicBezTo>
                  <a:pt x="5508549" y="1336906"/>
                  <a:pt x="5508549" y="1336906"/>
                  <a:pt x="4922696" y="2353119"/>
                </a:cubicBezTo>
                <a:cubicBezTo>
                  <a:pt x="4886932" y="2417792"/>
                  <a:pt x="4816753" y="2458309"/>
                  <a:pt x="4742864" y="2456945"/>
                </a:cubicBezTo>
                <a:cubicBezTo>
                  <a:pt x="4742864" y="2456945"/>
                  <a:pt x="4742864" y="2456945"/>
                  <a:pt x="3569871" y="2456203"/>
                </a:cubicBezTo>
                <a:cubicBezTo>
                  <a:pt x="3493788" y="2456106"/>
                  <a:pt x="3424385" y="2416932"/>
                  <a:pt x="3386259" y="2350896"/>
                </a:cubicBezTo>
                <a:cubicBezTo>
                  <a:pt x="3386259" y="2350896"/>
                  <a:pt x="3386259" y="2350896"/>
                  <a:pt x="2797848" y="1331739"/>
                </a:cubicBezTo>
                <a:cubicBezTo>
                  <a:pt x="2760993" y="1267904"/>
                  <a:pt x="2760499" y="1186012"/>
                  <a:pt x="2799727" y="1122274"/>
                </a:cubicBezTo>
                <a:cubicBezTo>
                  <a:pt x="2799727" y="1122274"/>
                  <a:pt x="2799727" y="1122274"/>
                  <a:pt x="3384310" y="103860"/>
                </a:cubicBezTo>
                <a:cubicBezTo>
                  <a:pt x="3420073" y="39188"/>
                  <a:pt x="3490251" y="-1330"/>
                  <a:pt x="3564142" y="3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25293" y="2408157"/>
            <a:ext cx="4459766" cy="3146839"/>
          </a:xfrm>
          <a:prstGeom prst="roundRect">
            <a:avLst>
              <a:gd name="adj" fmla="val 2139"/>
            </a:avLst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  <a:lin ang="10800000" scaled="0"/>
          </a:gradFill>
          <a:ln>
            <a:solidFill>
              <a:schemeClr val="bg1">
                <a:lumMod val="50000"/>
              </a:schemeClr>
            </a:solidFill>
          </a:ln>
        </p:spPr>
        <p:txBody>
          <a:bodyPr lIns="180000" tIns="288000" rIns="180000" bIns="180000" anchor="t"/>
          <a:lstStyle>
            <a:lvl1pPr algn="l">
              <a:lnSpc>
                <a:spcPts val="4000"/>
              </a:lnSpc>
              <a:defRPr sz="5000" b="1" spc="-3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noProof="0"/>
              <a:t>Click to edit divider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7300" y="4386894"/>
            <a:ext cx="4000500" cy="997905"/>
          </a:xfrm>
          <a:noFill/>
        </p:spPr>
        <p:txBody>
          <a:bodyPr lIns="0" tIns="0" rIns="0" bIns="0"/>
          <a:lstStyle>
            <a:lvl1pPr marL="0" indent="0" algn="l">
              <a:buNone/>
              <a:defRPr sz="21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4B1E83-6080-4D35-A216-8E5C3990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E95353-8EE1-49C9-ADAC-E76BD49D2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45171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B7C90C9-77F3-4C3C-97F8-425EF81FB7A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1795125" cy="6858000"/>
          </a:xfrm>
          <a:custGeom>
            <a:avLst/>
            <a:gdLst>
              <a:gd name="connsiteX0" fmla="*/ 4729712 w 11795125"/>
              <a:gd name="connsiteY0" fmla="*/ 4417922 h 6858000"/>
              <a:gd name="connsiteX1" fmla="*/ 7234278 w 11795125"/>
              <a:gd name="connsiteY1" fmla="*/ 4419507 h 6858000"/>
              <a:gd name="connsiteX2" fmla="*/ 7626325 w 11795125"/>
              <a:gd name="connsiteY2" fmla="*/ 4644358 h 6858000"/>
              <a:gd name="connsiteX3" fmla="*/ 8882694 w 11795125"/>
              <a:gd name="connsiteY3" fmla="*/ 6820455 h 6858000"/>
              <a:gd name="connsiteX4" fmla="*/ 8898077 w 11795125"/>
              <a:gd name="connsiteY4" fmla="*/ 6858000 h 6858000"/>
              <a:gd name="connsiteX5" fmla="*/ 3070863 w 11795125"/>
              <a:gd name="connsiteY5" fmla="*/ 6858000 h 6858000"/>
              <a:gd name="connsiteX6" fmla="*/ 3094823 w 11795125"/>
              <a:gd name="connsiteY6" fmla="*/ 6809422 h 6858000"/>
              <a:gd name="connsiteX7" fmla="*/ 4345735 w 11795125"/>
              <a:gd name="connsiteY7" fmla="*/ 4639611 h 6858000"/>
              <a:gd name="connsiteX8" fmla="*/ 4729712 w 11795125"/>
              <a:gd name="connsiteY8" fmla="*/ 4417922 h 6858000"/>
              <a:gd name="connsiteX9" fmla="*/ 2031302 w 11795125"/>
              <a:gd name="connsiteY9" fmla="*/ 2039301 h 6858000"/>
              <a:gd name="connsiteX10" fmla="*/ 2747265 w 11795125"/>
              <a:gd name="connsiteY10" fmla="*/ 2039754 h 6858000"/>
              <a:gd name="connsiteX11" fmla="*/ 2859337 w 11795125"/>
              <a:gd name="connsiteY11" fmla="*/ 2104031 h 6858000"/>
              <a:gd name="connsiteX12" fmla="*/ 3218486 w 11795125"/>
              <a:gd name="connsiteY12" fmla="*/ 2726096 h 6858000"/>
              <a:gd name="connsiteX13" fmla="*/ 3217340 w 11795125"/>
              <a:gd name="connsiteY13" fmla="*/ 2853948 h 6858000"/>
              <a:gd name="connsiteX14" fmla="*/ 2860527 w 11795125"/>
              <a:gd name="connsiteY14" fmla="*/ 3475560 h 6858000"/>
              <a:gd name="connsiteX15" fmla="*/ 2750762 w 11795125"/>
              <a:gd name="connsiteY15" fmla="*/ 3538933 h 6858000"/>
              <a:gd name="connsiteX16" fmla="*/ 2034023 w 11795125"/>
              <a:gd name="connsiteY16" fmla="*/ 3537136 h 6858000"/>
              <a:gd name="connsiteX17" fmla="*/ 1922728 w 11795125"/>
              <a:gd name="connsiteY17" fmla="*/ 3474202 h 6858000"/>
              <a:gd name="connsiteX18" fmla="*/ 1563578 w 11795125"/>
              <a:gd name="connsiteY18" fmla="*/ 2852137 h 6858000"/>
              <a:gd name="connsiteX19" fmla="*/ 1563948 w 11795125"/>
              <a:gd name="connsiteY19" fmla="*/ 2722942 h 6858000"/>
              <a:gd name="connsiteX20" fmla="*/ 1921537 w 11795125"/>
              <a:gd name="connsiteY20" fmla="*/ 2102674 h 6858000"/>
              <a:gd name="connsiteX21" fmla="*/ 2031302 w 11795125"/>
              <a:gd name="connsiteY21" fmla="*/ 2039301 h 6858000"/>
              <a:gd name="connsiteX22" fmla="*/ 9343478 w 11795125"/>
              <a:gd name="connsiteY22" fmla="*/ 1795745 h 6858000"/>
              <a:gd name="connsiteX23" fmla="*/ 11620502 w 11795125"/>
              <a:gd name="connsiteY23" fmla="*/ 1797185 h 6858000"/>
              <a:gd name="connsiteX24" fmla="*/ 11795125 w 11795125"/>
              <a:gd name="connsiteY24" fmla="*/ 1797296 h 6858000"/>
              <a:gd name="connsiteX25" fmla="*/ 11795125 w 11795125"/>
              <a:gd name="connsiteY25" fmla="*/ 6858000 h 6858000"/>
              <a:gd name="connsiteX26" fmla="*/ 8996698 w 11795125"/>
              <a:gd name="connsiteY26" fmla="*/ 6858000 h 6858000"/>
              <a:gd name="connsiteX27" fmla="*/ 8963663 w 11795125"/>
              <a:gd name="connsiteY27" fmla="*/ 6815289 h 6858000"/>
              <a:gd name="connsiteX28" fmla="*/ 7707295 w 11795125"/>
              <a:gd name="connsiteY28" fmla="*/ 4639193 h 6858000"/>
              <a:gd name="connsiteX29" fmla="*/ 7708590 w 11795125"/>
              <a:gd name="connsiteY29" fmla="*/ 4187244 h 6858000"/>
              <a:gd name="connsiteX30" fmla="*/ 8959501 w 11795125"/>
              <a:gd name="connsiteY30" fmla="*/ 2017434 h 6858000"/>
              <a:gd name="connsiteX31" fmla="*/ 9343478 w 11795125"/>
              <a:gd name="connsiteY31" fmla="*/ 1795745 h 6858000"/>
              <a:gd name="connsiteX32" fmla="*/ 3102644 w 11795125"/>
              <a:gd name="connsiteY32" fmla="*/ 1739841 h 6858000"/>
              <a:gd name="connsiteX33" fmla="*/ 3385876 w 11795125"/>
              <a:gd name="connsiteY33" fmla="*/ 1740020 h 6858000"/>
              <a:gd name="connsiteX34" fmla="*/ 3430211 w 11795125"/>
              <a:gd name="connsiteY34" fmla="*/ 1765448 h 6858000"/>
              <a:gd name="connsiteX35" fmla="*/ 3572289 w 11795125"/>
              <a:gd name="connsiteY35" fmla="*/ 2011533 h 6858000"/>
              <a:gd name="connsiteX36" fmla="*/ 3571836 w 11795125"/>
              <a:gd name="connsiteY36" fmla="*/ 2062111 h 6858000"/>
              <a:gd name="connsiteX37" fmla="*/ 3430681 w 11795125"/>
              <a:gd name="connsiteY37" fmla="*/ 2308019 h 6858000"/>
              <a:gd name="connsiteX38" fmla="*/ 3387260 w 11795125"/>
              <a:gd name="connsiteY38" fmla="*/ 2333088 h 6858000"/>
              <a:gd name="connsiteX39" fmla="*/ 3103720 w 11795125"/>
              <a:gd name="connsiteY39" fmla="*/ 2332378 h 6858000"/>
              <a:gd name="connsiteX40" fmla="*/ 3059693 w 11795125"/>
              <a:gd name="connsiteY40" fmla="*/ 2307481 h 6858000"/>
              <a:gd name="connsiteX41" fmla="*/ 2917615 w 11795125"/>
              <a:gd name="connsiteY41" fmla="*/ 2061395 h 6858000"/>
              <a:gd name="connsiteX42" fmla="*/ 2917761 w 11795125"/>
              <a:gd name="connsiteY42" fmla="*/ 2010286 h 6858000"/>
              <a:gd name="connsiteX43" fmla="*/ 3059222 w 11795125"/>
              <a:gd name="connsiteY43" fmla="*/ 1764910 h 6858000"/>
              <a:gd name="connsiteX44" fmla="*/ 3102644 w 11795125"/>
              <a:gd name="connsiteY44" fmla="*/ 1739841 h 6858000"/>
              <a:gd name="connsiteX45" fmla="*/ 3522963 w 11795125"/>
              <a:gd name="connsiteY45" fmla="*/ 1598675 h 6858000"/>
              <a:gd name="connsiteX46" fmla="*/ 3625194 w 11795125"/>
              <a:gd name="connsiteY46" fmla="*/ 1598740 h 6858000"/>
              <a:gd name="connsiteX47" fmla="*/ 3641197 w 11795125"/>
              <a:gd name="connsiteY47" fmla="*/ 1607918 h 6858000"/>
              <a:gd name="connsiteX48" fmla="*/ 3692479 w 11795125"/>
              <a:gd name="connsiteY48" fmla="*/ 1696742 h 6858000"/>
              <a:gd name="connsiteX49" fmla="*/ 3692315 w 11795125"/>
              <a:gd name="connsiteY49" fmla="*/ 1714998 h 6858000"/>
              <a:gd name="connsiteX50" fmla="*/ 3641367 w 11795125"/>
              <a:gd name="connsiteY50" fmla="*/ 1803757 h 6858000"/>
              <a:gd name="connsiteX51" fmla="*/ 3625694 w 11795125"/>
              <a:gd name="connsiteY51" fmla="*/ 1812806 h 6858000"/>
              <a:gd name="connsiteX52" fmla="*/ 3523352 w 11795125"/>
              <a:gd name="connsiteY52" fmla="*/ 1812549 h 6858000"/>
              <a:gd name="connsiteX53" fmla="*/ 3507459 w 11795125"/>
              <a:gd name="connsiteY53" fmla="*/ 1803563 h 6858000"/>
              <a:gd name="connsiteX54" fmla="*/ 3456177 w 11795125"/>
              <a:gd name="connsiteY54" fmla="*/ 1714739 h 6858000"/>
              <a:gd name="connsiteX55" fmla="*/ 3456230 w 11795125"/>
              <a:gd name="connsiteY55" fmla="*/ 1696292 h 6858000"/>
              <a:gd name="connsiteX56" fmla="*/ 3507290 w 11795125"/>
              <a:gd name="connsiteY56" fmla="*/ 1607724 h 6858000"/>
              <a:gd name="connsiteX57" fmla="*/ 3522963 w 11795125"/>
              <a:gd name="connsiteY57" fmla="*/ 1598675 h 6858000"/>
              <a:gd name="connsiteX58" fmla="*/ 4199803 w 11795125"/>
              <a:gd name="connsiteY58" fmla="*/ 1370724 h 6858000"/>
              <a:gd name="connsiteX59" fmla="*/ 4537019 w 11795125"/>
              <a:gd name="connsiteY59" fmla="*/ 1370938 h 6858000"/>
              <a:gd name="connsiteX60" fmla="*/ 4589804 w 11795125"/>
              <a:gd name="connsiteY60" fmla="*/ 1401211 h 6858000"/>
              <a:gd name="connsiteX61" fmla="*/ 4758963 w 11795125"/>
              <a:gd name="connsiteY61" fmla="*/ 1694203 h 6858000"/>
              <a:gd name="connsiteX62" fmla="*/ 4758423 w 11795125"/>
              <a:gd name="connsiteY62" fmla="*/ 1754421 h 6858000"/>
              <a:gd name="connsiteX63" fmla="*/ 4590365 w 11795125"/>
              <a:gd name="connsiteY63" fmla="*/ 2047199 h 6858000"/>
              <a:gd name="connsiteX64" fmla="*/ 4538665 w 11795125"/>
              <a:gd name="connsiteY64" fmla="*/ 2077046 h 6858000"/>
              <a:gd name="connsiteX65" fmla="*/ 4201084 w 11795125"/>
              <a:gd name="connsiteY65" fmla="*/ 2076201 h 6858000"/>
              <a:gd name="connsiteX66" fmla="*/ 4148664 w 11795125"/>
              <a:gd name="connsiteY66" fmla="*/ 2046559 h 6858000"/>
              <a:gd name="connsiteX67" fmla="*/ 3979505 w 11795125"/>
              <a:gd name="connsiteY67" fmla="*/ 1753567 h 6858000"/>
              <a:gd name="connsiteX68" fmla="*/ 3979680 w 11795125"/>
              <a:gd name="connsiteY68" fmla="*/ 1692718 h 6858000"/>
              <a:gd name="connsiteX69" fmla="*/ 4148104 w 11795125"/>
              <a:gd name="connsiteY69" fmla="*/ 1400573 h 6858000"/>
              <a:gd name="connsiteX70" fmla="*/ 4199803 w 11795125"/>
              <a:gd name="connsiteY70" fmla="*/ 1370724 h 6858000"/>
              <a:gd name="connsiteX71" fmla="*/ 3525946 w 11795125"/>
              <a:gd name="connsiteY71" fmla="*/ 1141304 h 6858000"/>
              <a:gd name="connsiteX72" fmla="*/ 3719554 w 11795125"/>
              <a:gd name="connsiteY72" fmla="*/ 1141427 h 6858000"/>
              <a:gd name="connsiteX73" fmla="*/ 3749860 w 11795125"/>
              <a:gd name="connsiteY73" fmla="*/ 1158808 h 6858000"/>
              <a:gd name="connsiteX74" fmla="*/ 3846980 w 11795125"/>
              <a:gd name="connsiteY74" fmla="*/ 1327024 h 6858000"/>
              <a:gd name="connsiteX75" fmla="*/ 3846670 w 11795125"/>
              <a:gd name="connsiteY75" fmla="*/ 1361598 h 6858000"/>
              <a:gd name="connsiteX76" fmla="*/ 3750182 w 11795125"/>
              <a:gd name="connsiteY76" fmla="*/ 1529691 h 6858000"/>
              <a:gd name="connsiteX77" fmla="*/ 3720499 w 11795125"/>
              <a:gd name="connsiteY77" fmla="*/ 1546828 h 6858000"/>
              <a:gd name="connsiteX78" fmla="*/ 3526682 w 11795125"/>
              <a:gd name="connsiteY78" fmla="*/ 1546343 h 6858000"/>
              <a:gd name="connsiteX79" fmla="*/ 3496586 w 11795125"/>
              <a:gd name="connsiteY79" fmla="*/ 1529324 h 6858000"/>
              <a:gd name="connsiteX80" fmla="*/ 3399466 w 11795125"/>
              <a:gd name="connsiteY80" fmla="*/ 1361108 h 6858000"/>
              <a:gd name="connsiteX81" fmla="*/ 3399566 w 11795125"/>
              <a:gd name="connsiteY81" fmla="*/ 1326172 h 6858000"/>
              <a:gd name="connsiteX82" fmla="*/ 3496264 w 11795125"/>
              <a:gd name="connsiteY82" fmla="*/ 1158441 h 6858000"/>
              <a:gd name="connsiteX83" fmla="*/ 3525946 w 11795125"/>
              <a:gd name="connsiteY83" fmla="*/ 1141304 h 6858000"/>
              <a:gd name="connsiteX84" fmla="*/ 3955878 w 11795125"/>
              <a:gd name="connsiteY84" fmla="*/ 173494 h 6858000"/>
              <a:gd name="connsiteX85" fmla="*/ 4500068 w 11795125"/>
              <a:gd name="connsiteY85" fmla="*/ 173838 h 6858000"/>
              <a:gd name="connsiteX86" fmla="*/ 4585252 w 11795125"/>
              <a:gd name="connsiteY86" fmla="*/ 222694 h 6858000"/>
              <a:gd name="connsiteX87" fmla="*/ 4858234 w 11795125"/>
              <a:gd name="connsiteY87" fmla="*/ 695514 h 6858000"/>
              <a:gd name="connsiteX88" fmla="*/ 4857363 w 11795125"/>
              <a:gd name="connsiteY88" fmla="*/ 792690 h 6858000"/>
              <a:gd name="connsiteX89" fmla="*/ 4586156 w 11795125"/>
              <a:gd name="connsiteY89" fmla="*/ 1265167 h 6858000"/>
              <a:gd name="connsiteX90" fmla="*/ 4502727 w 11795125"/>
              <a:gd name="connsiteY90" fmla="*/ 1313334 h 6858000"/>
              <a:gd name="connsiteX91" fmla="*/ 3957947 w 11795125"/>
              <a:gd name="connsiteY91" fmla="*/ 1311968 h 6858000"/>
              <a:gd name="connsiteX92" fmla="*/ 3873354 w 11795125"/>
              <a:gd name="connsiteY92" fmla="*/ 1264134 h 6858000"/>
              <a:gd name="connsiteX93" fmla="*/ 3600372 w 11795125"/>
              <a:gd name="connsiteY93" fmla="*/ 791315 h 6858000"/>
              <a:gd name="connsiteX94" fmla="*/ 3600653 w 11795125"/>
              <a:gd name="connsiteY94" fmla="*/ 693116 h 6858000"/>
              <a:gd name="connsiteX95" fmla="*/ 3872449 w 11795125"/>
              <a:gd name="connsiteY95" fmla="*/ 221662 h 6858000"/>
              <a:gd name="connsiteX96" fmla="*/ 3955878 w 11795125"/>
              <a:gd name="connsiteY96" fmla="*/ 173494 h 6858000"/>
              <a:gd name="connsiteX97" fmla="*/ 3852283 w 11795125"/>
              <a:gd name="connsiteY97" fmla="*/ 0 h 6858000"/>
              <a:gd name="connsiteX98" fmla="*/ 6130031 w 11795125"/>
              <a:gd name="connsiteY98" fmla="*/ 0 h 6858000"/>
              <a:gd name="connsiteX99" fmla="*/ 6102465 w 11795125"/>
              <a:gd name="connsiteY99" fmla="*/ 36730 h 6858000"/>
              <a:gd name="connsiteX100" fmla="*/ 5879948 w 11795125"/>
              <a:gd name="connsiteY100" fmla="*/ 127724 h 6858000"/>
              <a:gd name="connsiteX101" fmla="*/ 4102884 w 11795125"/>
              <a:gd name="connsiteY101" fmla="*/ 123270 h 6858000"/>
              <a:gd name="connsiteX102" fmla="*/ 3877665 w 11795125"/>
              <a:gd name="connsiteY102" fmla="*/ 32818 h 6858000"/>
              <a:gd name="connsiteX103" fmla="*/ 0 w 11795125"/>
              <a:gd name="connsiteY103" fmla="*/ 0 h 6858000"/>
              <a:gd name="connsiteX104" fmla="*/ 3781476 w 11795125"/>
              <a:gd name="connsiteY104" fmla="*/ 0 h 6858000"/>
              <a:gd name="connsiteX105" fmla="*/ 3800985 w 11795125"/>
              <a:gd name="connsiteY105" fmla="*/ 47617 h 6858000"/>
              <a:gd name="connsiteX106" fmla="*/ 3766711 w 11795125"/>
              <a:gd name="connsiteY106" fmla="*/ 287889 h 6858000"/>
              <a:gd name="connsiteX107" fmla="*/ 2882037 w 11795125"/>
              <a:gd name="connsiteY107" fmla="*/ 1829098 h 6858000"/>
              <a:gd name="connsiteX108" fmla="*/ 2609888 w 11795125"/>
              <a:gd name="connsiteY108" fmla="*/ 1986223 h 6858000"/>
              <a:gd name="connsiteX109" fmla="*/ 832823 w 11795125"/>
              <a:gd name="connsiteY109" fmla="*/ 1981768 h 6858000"/>
              <a:gd name="connsiteX110" fmla="*/ 556879 w 11795125"/>
              <a:gd name="connsiteY110" fmla="*/ 1825733 h 6858000"/>
              <a:gd name="connsiteX111" fmla="*/ 79254 w 11795125"/>
              <a:gd name="connsiteY111" fmla="*/ 998462 h 6858000"/>
              <a:gd name="connsiteX112" fmla="*/ 0 w 11795125"/>
              <a:gd name="connsiteY112" fmla="*/ 861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11795125" h="6858000">
                <a:moveTo>
                  <a:pt x="4729712" y="4417922"/>
                </a:moveTo>
                <a:cubicBezTo>
                  <a:pt x="4729712" y="4417922"/>
                  <a:pt x="4729712" y="4417922"/>
                  <a:pt x="7234278" y="4419507"/>
                </a:cubicBezTo>
                <a:cubicBezTo>
                  <a:pt x="7396730" y="4419716"/>
                  <a:pt x="7544918" y="4503359"/>
                  <a:pt x="7626325" y="4644358"/>
                </a:cubicBezTo>
                <a:cubicBezTo>
                  <a:pt x="7626325" y="4644358"/>
                  <a:pt x="7626325" y="4644358"/>
                  <a:pt x="8882694" y="6820455"/>
                </a:cubicBezTo>
                <a:lnTo>
                  <a:pt x="8898077" y="6858000"/>
                </a:lnTo>
                <a:lnTo>
                  <a:pt x="3070863" y="6858000"/>
                </a:lnTo>
                <a:lnTo>
                  <a:pt x="3094823" y="6809422"/>
                </a:lnTo>
                <a:cubicBezTo>
                  <a:pt x="3094823" y="6809422"/>
                  <a:pt x="3094823" y="6809422"/>
                  <a:pt x="4345735" y="4639611"/>
                </a:cubicBezTo>
                <a:cubicBezTo>
                  <a:pt x="4422097" y="4501523"/>
                  <a:pt x="4571941" y="4415010"/>
                  <a:pt x="4729712" y="4417922"/>
                </a:cubicBezTo>
                <a:close/>
                <a:moveTo>
                  <a:pt x="2031302" y="2039301"/>
                </a:moveTo>
                <a:cubicBezTo>
                  <a:pt x="2031302" y="2039301"/>
                  <a:pt x="2031302" y="2039301"/>
                  <a:pt x="2747265" y="2039754"/>
                </a:cubicBezTo>
                <a:cubicBezTo>
                  <a:pt x="2793703" y="2039814"/>
                  <a:pt x="2836066" y="2063724"/>
                  <a:pt x="2859337" y="2104031"/>
                </a:cubicBezTo>
                <a:cubicBezTo>
                  <a:pt x="2859337" y="2104031"/>
                  <a:pt x="2859337" y="2104031"/>
                  <a:pt x="3218486" y="2726096"/>
                </a:cubicBezTo>
                <a:cubicBezTo>
                  <a:pt x="3240981" y="2765058"/>
                  <a:pt x="3241283" y="2815045"/>
                  <a:pt x="3217340" y="2853948"/>
                </a:cubicBezTo>
                <a:cubicBezTo>
                  <a:pt x="3217340" y="2853948"/>
                  <a:pt x="3217340" y="2853948"/>
                  <a:pt x="2860527" y="3475560"/>
                </a:cubicBezTo>
                <a:cubicBezTo>
                  <a:pt x="2838697" y="3515034"/>
                  <a:pt x="2795862" y="3539765"/>
                  <a:pt x="2750762" y="3538933"/>
                </a:cubicBezTo>
                <a:cubicBezTo>
                  <a:pt x="2750762" y="3538933"/>
                  <a:pt x="2750762" y="3538933"/>
                  <a:pt x="2034023" y="3537136"/>
                </a:cubicBezTo>
                <a:cubicBezTo>
                  <a:pt x="1988359" y="3538420"/>
                  <a:pt x="1945223" y="3513165"/>
                  <a:pt x="1922728" y="3474202"/>
                </a:cubicBezTo>
                <a:cubicBezTo>
                  <a:pt x="1922728" y="3474202"/>
                  <a:pt x="1922728" y="3474202"/>
                  <a:pt x="1563578" y="2852137"/>
                </a:cubicBezTo>
                <a:cubicBezTo>
                  <a:pt x="1540307" y="2811831"/>
                  <a:pt x="1540780" y="2763190"/>
                  <a:pt x="1563948" y="2722942"/>
                </a:cubicBezTo>
                <a:cubicBezTo>
                  <a:pt x="1563948" y="2722942"/>
                  <a:pt x="1563948" y="2722942"/>
                  <a:pt x="1921537" y="2102674"/>
                </a:cubicBezTo>
                <a:cubicBezTo>
                  <a:pt x="1943366" y="2063199"/>
                  <a:pt x="1986202" y="2038468"/>
                  <a:pt x="2031302" y="2039301"/>
                </a:cubicBezTo>
                <a:close/>
                <a:moveTo>
                  <a:pt x="9343478" y="1795745"/>
                </a:moveTo>
                <a:cubicBezTo>
                  <a:pt x="9343478" y="1795745"/>
                  <a:pt x="9343478" y="1795745"/>
                  <a:pt x="11620502" y="1797185"/>
                </a:cubicBezTo>
                <a:lnTo>
                  <a:pt x="11795125" y="1797296"/>
                </a:lnTo>
                <a:lnTo>
                  <a:pt x="11795125" y="6858000"/>
                </a:lnTo>
                <a:lnTo>
                  <a:pt x="8996698" y="6858000"/>
                </a:lnTo>
                <a:lnTo>
                  <a:pt x="8963663" y="6815289"/>
                </a:lnTo>
                <a:cubicBezTo>
                  <a:pt x="8963663" y="6815289"/>
                  <a:pt x="8963663" y="6815289"/>
                  <a:pt x="7707295" y="4639193"/>
                </a:cubicBezTo>
                <a:cubicBezTo>
                  <a:pt x="7625888" y="4498193"/>
                  <a:pt x="7627546" y="4328036"/>
                  <a:pt x="7708590" y="4187244"/>
                </a:cubicBezTo>
                <a:cubicBezTo>
                  <a:pt x="7708590" y="4187244"/>
                  <a:pt x="7708590" y="4187244"/>
                  <a:pt x="8959501" y="2017434"/>
                </a:cubicBezTo>
                <a:cubicBezTo>
                  <a:pt x="9035863" y="1879345"/>
                  <a:pt x="9185707" y="1792833"/>
                  <a:pt x="9343478" y="1795745"/>
                </a:cubicBezTo>
                <a:close/>
                <a:moveTo>
                  <a:pt x="3102644" y="1739841"/>
                </a:moveTo>
                <a:cubicBezTo>
                  <a:pt x="3102644" y="1739841"/>
                  <a:pt x="3102644" y="1739841"/>
                  <a:pt x="3385876" y="1740020"/>
                </a:cubicBezTo>
                <a:cubicBezTo>
                  <a:pt x="3404247" y="1740043"/>
                  <a:pt x="3421005" y="1749503"/>
                  <a:pt x="3430211" y="1765448"/>
                </a:cubicBezTo>
                <a:cubicBezTo>
                  <a:pt x="3430211" y="1765448"/>
                  <a:pt x="3430211" y="1765448"/>
                  <a:pt x="3572289" y="2011533"/>
                </a:cubicBezTo>
                <a:cubicBezTo>
                  <a:pt x="3581188" y="2026948"/>
                  <a:pt x="3581308" y="2046721"/>
                  <a:pt x="3571836" y="2062111"/>
                </a:cubicBezTo>
                <a:cubicBezTo>
                  <a:pt x="3571836" y="2062111"/>
                  <a:pt x="3571836" y="2062111"/>
                  <a:pt x="3430681" y="2308019"/>
                </a:cubicBezTo>
                <a:cubicBezTo>
                  <a:pt x="3422046" y="2323634"/>
                  <a:pt x="3405101" y="2333418"/>
                  <a:pt x="3387260" y="2333088"/>
                </a:cubicBezTo>
                <a:cubicBezTo>
                  <a:pt x="3387260" y="2333088"/>
                  <a:pt x="3387260" y="2333088"/>
                  <a:pt x="3103720" y="2332378"/>
                </a:cubicBezTo>
                <a:cubicBezTo>
                  <a:pt x="3085656" y="2332886"/>
                  <a:pt x="3068592" y="2322895"/>
                  <a:pt x="3059693" y="2307481"/>
                </a:cubicBezTo>
                <a:cubicBezTo>
                  <a:pt x="3059693" y="2307481"/>
                  <a:pt x="3059693" y="2307481"/>
                  <a:pt x="2917615" y="2061395"/>
                </a:cubicBezTo>
                <a:cubicBezTo>
                  <a:pt x="2908409" y="2045450"/>
                  <a:pt x="2908596" y="2026208"/>
                  <a:pt x="2917761" y="2010286"/>
                </a:cubicBezTo>
                <a:cubicBezTo>
                  <a:pt x="2917761" y="2010286"/>
                  <a:pt x="2917761" y="2010286"/>
                  <a:pt x="3059222" y="1764910"/>
                </a:cubicBezTo>
                <a:cubicBezTo>
                  <a:pt x="3067857" y="1749295"/>
                  <a:pt x="3084803" y="1739511"/>
                  <a:pt x="3102644" y="1739841"/>
                </a:cubicBezTo>
                <a:close/>
                <a:moveTo>
                  <a:pt x="3522963" y="1598675"/>
                </a:moveTo>
                <a:cubicBezTo>
                  <a:pt x="3522963" y="1598675"/>
                  <a:pt x="3522963" y="1598675"/>
                  <a:pt x="3625194" y="1598740"/>
                </a:cubicBezTo>
                <a:cubicBezTo>
                  <a:pt x="3631826" y="1598748"/>
                  <a:pt x="3637874" y="1602162"/>
                  <a:pt x="3641197" y="1607918"/>
                </a:cubicBezTo>
                <a:cubicBezTo>
                  <a:pt x="3641197" y="1607918"/>
                  <a:pt x="3641197" y="1607918"/>
                  <a:pt x="3692479" y="1696742"/>
                </a:cubicBezTo>
                <a:cubicBezTo>
                  <a:pt x="3695691" y="1702305"/>
                  <a:pt x="3695735" y="1709443"/>
                  <a:pt x="3692315" y="1714998"/>
                </a:cubicBezTo>
                <a:cubicBezTo>
                  <a:pt x="3692315" y="1714998"/>
                  <a:pt x="3692315" y="1714998"/>
                  <a:pt x="3641367" y="1803757"/>
                </a:cubicBezTo>
                <a:cubicBezTo>
                  <a:pt x="3638250" y="1809393"/>
                  <a:pt x="3632134" y="1812924"/>
                  <a:pt x="3625694" y="1812806"/>
                </a:cubicBezTo>
                <a:cubicBezTo>
                  <a:pt x="3625694" y="1812806"/>
                  <a:pt x="3625694" y="1812806"/>
                  <a:pt x="3523352" y="1812549"/>
                </a:cubicBezTo>
                <a:cubicBezTo>
                  <a:pt x="3516832" y="1812733"/>
                  <a:pt x="3510671" y="1809127"/>
                  <a:pt x="3507459" y="1803563"/>
                </a:cubicBezTo>
                <a:cubicBezTo>
                  <a:pt x="3507459" y="1803563"/>
                  <a:pt x="3507459" y="1803563"/>
                  <a:pt x="3456177" y="1714739"/>
                </a:cubicBezTo>
                <a:cubicBezTo>
                  <a:pt x="3452854" y="1708984"/>
                  <a:pt x="3452922" y="1702038"/>
                  <a:pt x="3456230" y="1696292"/>
                </a:cubicBezTo>
                <a:cubicBezTo>
                  <a:pt x="3456230" y="1696292"/>
                  <a:pt x="3456230" y="1696292"/>
                  <a:pt x="3507290" y="1607724"/>
                </a:cubicBezTo>
                <a:cubicBezTo>
                  <a:pt x="3510406" y="1602087"/>
                  <a:pt x="3516523" y="1598556"/>
                  <a:pt x="3522963" y="1598675"/>
                </a:cubicBezTo>
                <a:close/>
                <a:moveTo>
                  <a:pt x="4199803" y="1370724"/>
                </a:moveTo>
                <a:cubicBezTo>
                  <a:pt x="4199803" y="1370724"/>
                  <a:pt x="4199803" y="1370724"/>
                  <a:pt x="4537019" y="1370938"/>
                </a:cubicBezTo>
                <a:cubicBezTo>
                  <a:pt x="4558892" y="1370965"/>
                  <a:pt x="4578843" y="1382227"/>
                  <a:pt x="4589804" y="1401211"/>
                </a:cubicBezTo>
                <a:cubicBezTo>
                  <a:pt x="4589804" y="1401211"/>
                  <a:pt x="4589804" y="1401211"/>
                  <a:pt x="4758963" y="1694203"/>
                </a:cubicBezTo>
                <a:cubicBezTo>
                  <a:pt x="4769558" y="1712554"/>
                  <a:pt x="4769700" y="1736097"/>
                  <a:pt x="4758423" y="1754421"/>
                </a:cubicBezTo>
                <a:cubicBezTo>
                  <a:pt x="4758423" y="1754421"/>
                  <a:pt x="4758423" y="1754421"/>
                  <a:pt x="4590365" y="2047199"/>
                </a:cubicBezTo>
                <a:cubicBezTo>
                  <a:pt x="4580083" y="2065790"/>
                  <a:pt x="4559908" y="2077438"/>
                  <a:pt x="4538665" y="2077046"/>
                </a:cubicBezTo>
                <a:cubicBezTo>
                  <a:pt x="4538665" y="2077046"/>
                  <a:pt x="4538665" y="2077046"/>
                  <a:pt x="4201084" y="2076201"/>
                </a:cubicBezTo>
                <a:cubicBezTo>
                  <a:pt x="4179577" y="2076805"/>
                  <a:pt x="4159259" y="2064910"/>
                  <a:pt x="4148664" y="2046559"/>
                </a:cubicBezTo>
                <a:cubicBezTo>
                  <a:pt x="4148664" y="2046559"/>
                  <a:pt x="4148664" y="2046559"/>
                  <a:pt x="3979505" y="1753567"/>
                </a:cubicBezTo>
                <a:cubicBezTo>
                  <a:pt x="3968545" y="1734583"/>
                  <a:pt x="3968768" y="1711673"/>
                  <a:pt x="3979680" y="1692718"/>
                </a:cubicBezTo>
                <a:cubicBezTo>
                  <a:pt x="3979680" y="1692718"/>
                  <a:pt x="3979680" y="1692718"/>
                  <a:pt x="4148104" y="1400573"/>
                </a:cubicBezTo>
                <a:cubicBezTo>
                  <a:pt x="4158385" y="1381980"/>
                  <a:pt x="4178560" y="1370332"/>
                  <a:pt x="4199803" y="1370724"/>
                </a:cubicBezTo>
                <a:close/>
                <a:moveTo>
                  <a:pt x="3525946" y="1141304"/>
                </a:moveTo>
                <a:cubicBezTo>
                  <a:pt x="3525946" y="1141304"/>
                  <a:pt x="3525946" y="1141304"/>
                  <a:pt x="3719554" y="1141427"/>
                </a:cubicBezTo>
                <a:cubicBezTo>
                  <a:pt x="3732112" y="1141443"/>
                  <a:pt x="3743567" y="1147909"/>
                  <a:pt x="3749860" y="1158808"/>
                </a:cubicBezTo>
                <a:cubicBezTo>
                  <a:pt x="3749860" y="1158808"/>
                  <a:pt x="3749860" y="1158808"/>
                  <a:pt x="3846980" y="1327024"/>
                </a:cubicBezTo>
                <a:cubicBezTo>
                  <a:pt x="3853063" y="1337561"/>
                  <a:pt x="3853144" y="1351077"/>
                  <a:pt x="3846670" y="1361598"/>
                </a:cubicBezTo>
                <a:cubicBezTo>
                  <a:pt x="3846670" y="1361598"/>
                  <a:pt x="3846670" y="1361598"/>
                  <a:pt x="3750182" y="1529691"/>
                </a:cubicBezTo>
                <a:cubicBezTo>
                  <a:pt x="3744279" y="1540366"/>
                  <a:pt x="3732695" y="1547054"/>
                  <a:pt x="3720499" y="1546828"/>
                </a:cubicBezTo>
                <a:cubicBezTo>
                  <a:pt x="3720499" y="1546828"/>
                  <a:pt x="3720499" y="1546828"/>
                  <a:pt x="3526682" y="1546343"/>
                </a:cubicBezTo>
                <a:cubicBezTo>
                  <a:pt x="3514334" y="1546689"/>
                  <a:pt x="3502669" y="1539861"/>
                  <a:pt x="3496586" y="1529324"/>
                </a:cubicBezTo>
                <a:cubicBezTo>
                  <a:pt x="3496586" y="1529324"/>
                  <a:pt x="3496586" y="1529324"/>
                  <a:pt x="3399466" y="1361108"/>
                </a:cubicBezTo>
                <a:cubicBezTo>
                  <a:pt x="3393173" y="1350208"/>
                  <a:pt x="3393302" y="1337055"/>
                  <a:pt x="3399566" y="1326172"/>
                </a:cubicBezTo>
                <a:cubicBezTo>
                  <a:pt x="3399566" y="1326172"/>
                  <a:pt x="3399566" y="1326172"/>
                  <a:pt x="3496264" y="1158441"/>
                </a:cubicBezTo>
                <a:cubicBezTo>
                  <a:pt x="3502167" y="1147767"/>
                  <a:pt x="3513750" y="1141079"/>
                  <a:pt x="3525946" y="1141304"/>
                </a:cubicBezTo>
                <a:close/>
                <a:moveTo>
                  <a:pt x="3955878" y="173494"/>
                </a:moveTo>
                <a:cubicBezTo>
                  <a:pt x="3955878" y="173494"/>
                  <a:pt x="3955878" y="173494"/>
                  <a:pt x="4500068" y="173838"/>
                </a:cubicBezTo>
                <a:cubicBezTo>
                  <a:pt x="4535365" y="173884"/>
                  <a:pt x="4567564" y="192057"/>
                  <a:pt x="4585252" y="222694"/>
                </a:cubicBezTo>
                <a:cubicBezTo>
                  <a:pt x="4585252" y="222694"/>
                  <a:pt x="4585252" y="222694"/>
                  <a:pt x="4858234" y="695514"/>
                </a:cubicBezTo>
                <a:cubicBezTo>
                  <a:pt x="4875332" y="725128"/>
                  <a:pt x="4875562" y="763121"/>
                  <a:pt x="4857363" y="792690"/>
                </a:cubicBezTo>
                <a:cubicBezTo>
                  <a:pt x="4857363" y="792690"/>
                  <a:pt x="4857363" y="792690"/>
                  <a:pt x="4586156" y="1265167"/>
                </a:cubicBezTo>
                <a:cubicBezTo>
                  <a:pt x="4569564" y="1295169"/>
                  <a:pt x="4537006" y="1313967"/>
                  <a:pt x="4502727" y="1313334"/>
                </a:cubicBezTo>
                <a:cubicBezTo>
                  <a:pt x="4502727" y="1313334"/>
                  <a:pt x="4502727" y="1313334"/>
                  <a:pt x="3957947" y="1311968"/>
                </a:cubicBezTo>
                <a:cubicBezTo>
                  <a:pt x="3923239" y="1312944"/>
                  <a:pt x="3890452" y="1293749"/>
                  <a:pt x="3873354" y="1264134"/>
                </a:cubicBezTo>
                <a:cubicBezTo>
                  <a:pt x="3873354" y="1264134"/>
                  <a:pt x="3873354" y="1264134"/>
                  <a:pt x="3600372" y="791315"/>
                </a:cubicBezTo>
                <a:cubicBezTo>
                  <a:pt x="3582684" y="760678"/>
                  <a:pt x="3583043" y="723707"/>
                  <a:pt x="3600653" y="693116"/>
                </a:cubicBezTo>
                <a:cubicBezTo>
                  <a:pt x="3600653" y="693116"/>
                  <a:pt x="3600653" y="693116"/>
                  <a:pt x="3872449" y="221662"/>
                </a:cubicBezTo>
                <a:cubicBezTo>
                  <a:pt x="3889041" y="191658"/>
                  <a:pt x="3921599" y="172861"/>
                  <a:pt x="3955878" y="173494"/>
                </a:cubicBezTo>
                <a:close/>
                <a:moveTo>
                  <a:pt x="3852283" y="0"/>
                </a:moveTo>
                <a:lnTo>
                  <a:pt x="6130031" y="0"/>
                </a:lnTo>
                <a:lnTo>
                  <a:pt x="6102465" y="36730"/>
                </a:lnTo>
                <a:cubicBezTo>
                  <a:pt x="6044520" y="95168"/>
                  <a:pt x="5963814" y="129272"/>
                  <a:pt x="5879948" y="127724"/>
                </a:cubicBezTo>
                <a:cubicBezTo>
                  <a:pt x="5879948" y="127724"/>
                  <a:pt x="5879948" y="127724"/>
                  <a:pt x="4102884" y="123270"/>
                </a:cubicBezTo>
                <a:cubicBezTo>
                  <a:pt x="4017972" y="125657"/>
                  <a:pt x="3936583" y="91034"/>
                  <a:pt x="3877665" y="32818"/>
                </a:cubicBezTo>
                <a:close/>
                <a:moveTo>
                  <a:pt x="0" y="0"/>
                </a:moveTo>
                <a:lnTo>
                  <a:pt x="3781476" y="0"/>
                </a:lnTo>
                <a:lnTo>
                  <a:pt x="3800985" y="47617"/>
                </a:lnTo>
                <a:cubicBezTo>
                  <a:pt x="3821943" y="127749"/>
                  <a:pt x="3811234" y="215546"/>
                  <a:pt x="3766711" y="287889"/>
                </a:cubicBezTo>
                <a:cubicBezTo>
                  <a:pt x="3766711" y="287889"/>
                  <a:pt x="3766711" y="287889"/>
                  <a:pt x="2882037" y="1829098"/>
                </a:cubicBezTo>
                <a:cubicBezTo>
                  <a:pt x="2827913" y="1926970"/>
                  <a:pt x="2721708" y="1988287"/>
                  <a:pt x="2609888" y="1986223"/>
                </a:cubicBezTo>
                <a:cubicBezTo>
                  <a:pt x="2609888" y="1986223"/>
                  <a:pt x="2609888" y="1986223"/>
                  <a:pt x="832823" y="1981768"/>
                </a:cubicBezTo>
                <a:cubicBezTo>
                  <a:pt x="719607" y="1984952"/>
                  <a:pt x="612654" y="1922338"/>
                  <a:pt x="556879" y="1825733"/>
                </a:cubicBezTo>
                <a:cubicBezTo>
                  <a:pt x="556879" y="1825733"/>
                  <a:pt x="556879" y="1825733"/>
                  <a:pt x="79254" y="998462"/>
                </a:cubicBezTo>
                <a:lnTo>
                  <a:pt x="0" y="8611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64000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6117" y="1816509"/>
            <a:ext cx="4459766" cy="3146839"/>
          </a:xfrm>
          <a:prstGeom prst="roundRect">
            <a:avLst>
              <a:gd name="adj" fmla="val 2139"/>
            </a:avLst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  <a:lin ang="10800000" scaled="0"/>
          </a:gradFill>
          <a:ln>
            <a:solidFill>
              <a:schemeClr val="bg1">
                <a:lumMod val="50000"/>
              </a:schemeClr>
            </a:solidFill>
          </a:ln>
        </p:spPr>
        <p:txBody>
          <a:bodyPr lIns="180000" tIns="288000" rIns="180000" bIns="180000" anchor="t"/>
          <a:lstStyle>
            <a:lvl1pPr algn="l">
              <a:lnSpc>
                <a:spcPts val="4000"/>
              </a:lnSpc>
              <a:defRPr sz="5000" b="1" spc="-3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noProof="0"/>
              <a:t>Click to edit divider slide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24" y="3795246"/>
            <a:ext cx="4000500" cy="997905"/>
          </a:xfrm>
          <a:noFill/>
        </p:spPr>
        <p:txBody>
          <a:bodyPr lIns="0" tIns="0" rIns="0" bIns="0"/>
          <a:lstStyle>
            <a:lvl1pPr marL="0" indent="0" algn="l">
              <a:buNone/>
              <a:defRPr sz="21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4B1E83-6080-4D35-A216-8E5C3990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E95353-8EE1-49C9-ADAC-E76BD49D2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2273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7D77123-FDC4-48FD-9EFB-8A84F60690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81149" y="1684742"/>
            <a:ext cx="4904790" cy="4333769"/>
          </a:xfrm>
          <a:custGeom>
            <a:avLst/>
            <a:gdLst>
              <a:gd name="connsiteX0" fmla="*/ 1412122 w 4904790"/>
              <a:gd name="connsiteY0" fmla="*/ 0 h 4333769"/>
              <a:gd name="connsiteX1" fmla="*/ 3492669 w 4904790"/>
              <a:gd name="connsiteY1" fmla="*/ 0 h 4333769"/>
              <a:gd name="connsiteX2" fmla="*/ 3811717 w 4904790"/>
              <a:gd name="connsiteY2" fmla="*/ 188036 h 4333769"/>
              <a:gd name="connsiteX3" fmla="*/ 4854237 w 4904790"/>
              <a:gd name="connsiteY3" fmla="*/ 1983326 h 4333769"/>
              <a:gd name="connsiteX4" fmla="*/ 4854237 w 4904790"/>
              <a:gd name="connsiteY4" fmla="*/ 2350443 h 4333769"/>
              <a:gd name="connsiteX5" fmla="*/ 3811717 w 4904790"/>
              <a:gd name="connsiteY5" fmla="*/ 4145734 h 4333769"/>
              <a:gd name="connsiteX6" fmla="*/ 3492669 w 4904790"/>
              <a:gd name="connsiteY6" fmla="*/ 4333769 h 4333769"/>
              <a:gd name="connsiteX7" fmla="*/ 1412122 w 4904790"/>
              <a:gd name="connsiteY7" fmla="*/ 4333769 h 4333769"/>
              <a:gd name="connsiteX8" fmla="*/ 1088581 w 4904790"/>
              <a:gd name="connsiteY8" fmla="*/ 4145734 h 4333769"/>
              <a:gd name="connsiteX9" fmla="*/ 50554 w 4904790"/>
              <a:gd name="connsiteY9" fmla="*/ 2350443 h 4333769"/>
              <a:gd name="connsiteX10" fmla="*/ 50554 w 4904790"/>
              <a:gd name="connsiteY10" fmla="*/ 1983326 h 4333769"/>
              <a:gd name="connsiteX11" fmla="*/ 1088581 w 4904790"/>
              <a:gd name="connsiteY11" fmla="*/ 188036 h 4333769"/>
              <a:gd name="connsiteX12" fmla="*/ 1412122 w 4904790"/>
              <a:gd name="connsiteY12" fmla="*/ 0 h 4333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4790" h="4333769">
                <a:moveTo>
                  <a:pt x="1412122" y="0"/>
                </a:moveTo>
                <a:cubicBezTo>
                  <a:pt x="1412122" y="0"/>
                  <a:pt x="1412122" y="0"/>
                  <a:pt x="3492669" y="0"/>
                </a:cubicBezTo>
                <a:cubicBezTo>
                  <a:pt x="3622985" y="0"/>
                  <a:pt x="3748806" y="71633"/>
                  <a:pt x="3811717" y="188036"/>
                </a:cubicBezTo>
                <a:cubicBezTo>
                  <a:pt x="3811717" y="188036"/>
                  <a:pt x="3811717" y="188036"/>
                  <a:pt x="4854237" y="1983326"/>
                </a:cubicBezTo>
                <a:cubicBezTo>
                  <a:pt x="4921642" y="2095252"/>
                  <a:pt x="4921642" y="2238517"/>
                  <a:pt x="4854237" y="2350443"/>
                </a:cubicBezTo>
                <a:cubicBezTo>
                  <a:pt x="4854237" y="2350443"/>
                  <a:pt x="4854237" y="2350443"/>
                  <a:pt x="3811717" y="4145734"/>
                </a:cubicBezTo>
                <a:cubicBezTo>
                  <a:pt x="3748806" y="4262137"/>
                  <a:pt x="3622985" y="4333769"/>
                  <a:pt x="3492669" y="4333769"/>
                </a:cubicBezTo>
                <a:cubicBezTo>
                  <a:pt x="3492669" y="4333769"/>
                  <a:pt x="3492669" y="4333769"/>
                  <a:pt x="1412122" y="4333769"/>
                </a:cubicBezTo>
                <a:cubicBezTo>
                  <a:pt x="1277313" y="4333769"/>
                  <a:pt x="1155985" y="4262137"/>
                  <a:pt x="1088581" y="4145734"/>
                </a:cubicBezTo>
                <a:cubicBezTo>
                  <a:pt x="1088581" y="4145734"/>
                  <a:pt x="1088581" y="4145734"/>
                  <a:pt x="50554" y="2350443"/>
                </a:cubicBezTo>
                <a:cubicBezTo>
                  <a:pt x="-16851" y="2238517"/>
                  <a:pt x="-16851" y="2095252"/>
                  <a:pt x="50554" y="1983326"/>
                </a:cubicBezTo>
                <a:cubicBezTo>
                  <a:pt x="50554" y="1983326"/>
                  <a:pt x="50554" y="1983326"/>
                  <a:pt x="1088581" y="188036"/>
                </a:cubicBezTo>
                <a:cubicBezTo>
                  <a:pt x="1155985" y="71633"/>
                  <a:pt x="1277313" y="0"/>
                  <a:pt x="1412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5472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5472000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511566"/>
            <a:ext cx="5472000" cy="468043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501039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64B33BB-8F3A-42CE-BBDA-D08AA3266737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282692" y="432000"/>
            <a:ext cx="5511800" cy="5760000"/>
          </a:xfrm>
          <a:custGeom>
            <a:avLst/>
            <a:gdLst>
              <a:gd name="connsiteX0" fmla="*/ 193823 w 5511800"/>
              <a:gd name="connsiteY0" fmla="*/ 0 h 5760000"/>
              <a:gd name="connsiteX1" fmla="*/ 5511800 w 5511800"/>
              <a:gd name="connsiteY1" fmla="*/ 0 h 5760000"/>
              <a:gd name="connsiteX2" fmla="*/ 5511800 w 5511800"/>
              <a:gd name="connsiteY2" fmla="*/ 5760000 h 5760000"/>
              <a:gd name="connsiteX3" fmla="*/ 193823 w 5511800"/>
              <a:gd name="connsiteY3" fmla="*/ 5760000 h 5760000"/>
              <a:gd name="connsiteX4" fmla="*/ 3937 w 5511800"/>
              <a:gd name="connsiteY4" fmla="*/ 5605239 h 5760000"/>
              <a:gd name="connsiteX5" fmla="*/ 0 w 5511800"/>
              <a:gd name="connsiteY5" fmla="*/ 5566186 h 5760000"/>
              <a:gd name="connsiteX6" fmla="*/ 0 w 5511800"/>
              <a:gd name="connsiteY6" fmla="*/ 193814 h 5760000"/>
              <a:gd name="connsiteX7" fmla="*/ 3937 w 5511800"/>
              <a:gd name="connsiteY7" fmla="*/ 154762 h 5760000"/>
              <a:gd name="connsiteX8" fmla="*/ 193823 w 5511800"/>
              <a:gd name="connsiteY8" fmla="*/ 0 h 57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11800" h="5760000">
                <a:moveTo>
                  <a:pt x="193823" y="0"/>
                </a:moveTo>
                <a:lnTo>
                  <a:pt x="5511800" y="0"/>
                </a:lnTo>
                <a:lnTo>
                  <a:pt x="5511800" y="5760000"/>
                </a:lnTo>
                <a:lnTo>
                  <a:pt x="193823" y="5760000"/>
                </a:lnTo>
                <a:cubicBezTo>
                  <a:pt x="100158" y="5760000"/>
                  <a:pt x="22011" y="5693561"/>
                  <a:pt x="3937" y="5605239"/>
                </a:cubicBezTo>
                <a:lnTo>
                  <a:pt x="0" y="5566186"/>
                </a:lnTo>
                <a:lnTo>
                  <a:pt x="0" y="193814"/>
                </a:lnTo>
                <a:lnTo>
                  <a:pt x="3937" y="154762"/>
                </a:lnTo>
                <a:cubicBezTo>
                  <a:pt x="22011" y="66440"/>
                  <a:pt x="100158" y="0"/>
                  <a:pt x="193823" y="0"/>
                </a:cubicBezTo>
                <a:close/>
              </a:path>
            </a:pathLst>
          </a:custGeom>
        </p:spPr>
        <p:txBody>
          <a:bodyPr wrap="square" tIns="0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5472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5472000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511566"/>
            <a:ext cx="5472000" cy="468043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62926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7D77123-FDC4-48FD-9EFB-8A84F60690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12170" y="2376298"/>
            <a:ext cx="2405261" cy="2125239"/>
          </a:xfrm>
          <a:custGeom>
            <a:avLst/>
            <a:gdLst>
              <a:gd name="connsiteX0" fmla="*/ 1412122 w 4904790"/>
              <a:gd name="connsiteY0" fmla="*/ 0 h 4333769"/>
              <a:gd name="connsiteX1" fmla="*/ 3492669 w 4904790"/>
              <a:gd name="connsiteY1" fmla="*/ 0 h 4333769"/>
              <a:gd name="connsiteX2" fmla="*/ 3811717 w 4904790"/>
              <a:gd name="connsiteY2" fmla="*/ 188036 h 4333769"/>
              <a:gd name="connsiteX3" fmla="*/ 4854237 w 4904790"/>
              <a:gd name="connsiteY3" fmla="*/ 1983326 h 4333769"/>
              <a:gd name="connsiteX4" fmla="*/ 4854237 w 4904790"/>
              <a:gd name="connsiteY4" fmla="*/ 2350443 h 4333769"/>
              <a:gd name="connsiteX5" fmla="*/ 3811717 w 4904790"/>
              <a:gd name="connsiteY5" fmla="*/ 4145734 h 4333769"/>
              <a:gd name="connsiteX6" fmla="*/ 3492669 w 4904790"/>
              <a:gd name="connsiteY6" fmla="*/ 4333769 h 4333769"/>
              <a:gd name="connsiteX7" fmla="*/ 1412122 w 4904790"/>
              <a:gd name="connsiteY7" fmla="*/ 4333769 h 4333769"/>
              <a:gd name="connsiteX8" fmla="*/ 1088581 w 4904790"/>
              <a:gd name="connsiteY8" fmla="*/ 4145734 h 4333769"/>
              <a:gd name="connsiteX9" fmla="*/ 50554 w 4904790"/>
              <a:gd name="connsiteY9" fmla="*/ 2350443 h 4333769"/>
              <a:gd name="connsiteX10" fmla="*/ 50554 w 4904790"/>
              <a:gd name="connsiteY10" fmla="*/ 1983326 h 4333769"/>
              <a:gd name="connsiteX11" fmla="*/ 1088581 w 4904790"/>
              <a:gd name="connsiteY11" fmla="*/ 188036 h 4333769"/>
              <a:gd name="connsiteX12" fmla="*/ 1412122 w 4904790"/>
              <a:gd name="connsiteY12" fmla="*/ 0 h 4333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4790" h="4333769">
                <a:moveTo>
                  <a:pt x="1412122" y="0"/>
                </a:moveTo>
                <a:cubicBezTo>
                  <a:pt x="1412122" y="0"/>
                  <a:pt x="1412122" y="0"/>
                  <a:pt x="3492669" y="0"/>
                </a:cubicBezTo>
                <a:cubicBezTo>
                  <a:pt x="3622985" y="0"/>
                  <a:pt x="3748806" y="71633"/>
                  <a:pt x="3811717" y="188036"/>
                </a:cubicBezTo>
                <a:cubicBezTo>
                  <a:pt x="3811717" y="188036"/>
                  <a:pt x="3811717" y="188036"/>
                  <a:pt x="4854237" y="1983326"/>
                </a:cubicBezTo>
                <a:cubicBezTo>
                  <a:pt x="4921642" y="2095252"/>
                  <a:pt x="4921642" y="2238517"/>
                  <a:pt x="4854237" y="2350443"/>
                </a:cubicBezTo>
                <a:cubicBezTo>
                  <a:pt x="4854237" y="2350443"/>
                  <a:pt x="4854237" y="2350443"/>
                  <a:pt x="3811717" y="4145734"/>
                </a:cubicBezTo>
                <a:cubicBezTo>
                  <a:pt x="3748806" y="4262137"/>
                  <a:pt x="3622985" y="4333769"/>
                  <a:pt x="3492669" y="4333769"/>
                </a:cubicBezTo>
                <a:cubicBezTo>
                  <a:pt x="3492669" y="4333769"/>
                  <a:pt x="3492669" y="4333769"/>
                  <a:pt x="1412122" y="4333769"/>
                </a:cubicBezTo>
                <a:cubicBezTo>
                  <a:pt x="1277313" y="4333769"/>
                  <a:pt x="1155985" y="4262137"/>
                  <a:pt x="1088581" y="4145734"/>
                </a:cubicBezTo>
                <a:cubicBezTo>
                  <a:pt x="1088581" y="4145734"/>
                  <a:pt x="1088581" y="4145734"/>
                  <a:pt x="50554" y="2350443"/>
                </a:cubicBezTo>
                <a:cubicBezTo>
                  <a:pt x="-16851" y="2238517"/>
                  <a:pt x="-16851" y="2095252"/>
                  <a:pt x="50554" y="1983326"/>
                </a:cubicBezTo>
                <a:cubicBezTo>
                  <a:pt x="50554" y="1983326"/>
                  <a:pt x="50554" y="1983326"/>
                  <a:pt x="1088581" y="188036"/>
                </a:cubicBezTo>
                <a:cubicBezTo>
                  <a:pt x="1155985" y="71633"/>
                  <a:pt x="1277313" y="0"/>
                  <a:pt x="1412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5472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5472000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511566"/>
            <a:ext cx="5472000" cy="468043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1317B12-44C8-4227-9EB8-973D2226E63F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812420" y="1176148"/>
            <a:ext cx="2405261" cy="2125239"/>
          </a:xfrm>
          <a:custGeom>
            <a:avLst/>
            <a:gdLst>
              <a:gd name="connsiteX0" fmla="*/ 1412122 w 4904790"/>
              <a:gd name="connsiteY0" fmla="*/ 0 h 4333769"/>
              <a:gd name="connsiteX1" fmla="*/ 3492669 w 4904790"/>
              <a:gd name="connsiteY1" fmla="*/ 0 h 4333769"/>
              <a:gd name="connsiteX2" fmla="*/ 3811717 w 4904790"/>
              <a:gd name="connsiteY2" fmla="*/ 188036 h 4333769"/>
              <a:gd name="connsiteX3" fmla="*/ 4854237 w 4904790"/>
              <a:gd name="connsiteY3" fmla="*/ 1983326 h 4333769"/>
              <a:gd name="connsiteX4" fmla="*/ 4854237 w 4904790"/>
              <a:gd name="connsiteY4" fmla="*/ 2350443 h 4333769"/>
              <a:gd name="connsiteX5" fmla="*/ 3811717 w 4904790"/>
              <a:gd name="connsiteY5" fmla="*/ 4145734 h 4333769"/>
              <a:gd name="connsiteX6" fmla="*/ 3492669 w 4904790"/>
              <a:gd name="connsiteY6" fmla="*/ 4333769 h 4333769"/>
              <a:gd name="connsiteX7" fmla="*/ 1412122 w 4904790"/>
              <a:gd name="connsiteY7" fmla="*/ 4333769 h 4333769"/>
              <a:gd name="connsiteX8" fmla="*/ 1088581 w 4904790"/>
              <a:gd name="connsiteY8" fmla="*/ 4145734 h 4333769"/>
              <a:gd name="connsiteX9" fmla="*/ 50554 w 4904790"/>
              <a:gd name="connsiteY9" fmla="*/ 2350443 h 4333769"/>
              <a:gd name="connsiteX10" fmla="*/ 50554 w 4904790"/>
              <a:gd name="connsiteY10" fmla="*/ 1983326 h 4333769"/>
              <a:gd name="connsiteX11" fmla="*/ 1088581 w 4904790"/>
              <a:gd name="connsiteY11" fmla="*/ 188036 h 4333769"/>
              <a:gd name="connsiteX12" fmla="*/ 1412122 w 4904790"/>
              <a:gd name="connsiteY12" fmla="*/ 0 h 4333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4790" h="4333769">
                <a:moveTo>
                  <a:pt x="1412122" y="0"/>
                </a:moveTo>
                <a:cubicBezTo>
                  <a:pt x="1412122" y="0"/>
                  <a:pt x="1412122" y="0"/>
                  <a:pt x="3492669" y="0"/>
                </a:cubicBezTo>
                <a:cubicBezTo>
                  <a:pt x="3622985" y="0"/>
                  <a:pt x="3748806" y="71633"/>
                  <a:pt x="3811717" y="188036"/>
                </a:cubicBezTo>
                <a:cubicBezTo>
                  <a:pt x="3811717" y="188036"/>
                  <a:pt x="3811717" y="188036"/>
                  <a:pt x="4854237" y="1983326"/>
                </a:cubicBezTo>
                <a:cubicBezTo>
                  <a:pt x="4921642" y="2095252"/>
                  <a:pt x="4921642" y="2238517"/>
                  <a:pt x="4854237" y="2350443"/>
                </a:cubicBezTo>
                <a:cubicBezTo>
                  <a:pt x="4854237" y="2350443"/>
                  <a:pt x="4854237" y="2350443"/>
                  <a:pt x="3811717" y="4145734"/>
                </a:cubicBezTo>
                <a:cubicBezTo>
                  <a:pt x="3748806" y="4262137"/>
                  <a:pt x="3622985" y="4333769"/>
                  <a:pt x="3492669" y="4333769"/>
                </a:cubicBezTo>
                <a:cubicBezTo>
                  <a:pt x="3492669" y="4333769"/>
                  <a:pt x="3492669" y="4333769"/>
                  <a:pt x="1412122" y="4333769"/>
                </a:cubicBezTo>
                <a:cubicBezTo>
                  <a:pt x="1277313" y="4333769"/>
                  <a:pt x="1155985" y="4262137"/>
                  <a:pt x="1088581" y="4145734"/>
                </a:cubicBezTo>
                <a:cubicBezTo>
                  <a:pt x="1088581" y="4145734"/>
                  <a:pt x="1088581" y="4145734"/>
                  <a:pt x="50554" y="2350443"/>
                </a:cubicBezTo>
                <a:cubicBezTo>
                  <a:pt x="-16851" y="2238517"/>
                  <a:pt x="-16851" y="2095252"/>
                  <a:pt x="50554" y="1983326"/>
                </a:cubicBezTo>
                <a:cubicBezTo>
                  <a:pt x="50554" y="1983326"/>
                  <a:pt x="50554" y="1983326"/>
                  <a:pt x="1088581" y="188036"/>
                </a:cubicBezTo>
                <a:cubicBezTo>
                  <a:pt x="1155985" y="71633"/>
                  <a:pt x="1277313" y="0"/>
                  <a:pt x="1412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your photo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AD2255F-36DA-4BDE-B54D-F94F14B68B6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812419" y="3552739"/>
            <a:ext cx="2405261" cy="2125239"/>
          </a:xfrm>
          <a:custGeom>
            <a:avLst/>
            <a:gdLst>
              <a:gd name="connsiteX0" fmla="*/ 1412122 w 4904790"/>
              <a:gd name="connsiteY0" fmla="*/ 0 h 4333769"/>
              <a:gd name="connsiteX1" fmla="*/ 3492669 w 4904790"/>
              <a:gd name="connsiteY1" fmla="*/ 0 h 4333769"/>
              <a:gd name="connsiteX2" fmla="*/ 3811717 w 4904790"/>
              <a:gd name="connsiteY2" fmla="*/ 188036 h 4333769"/>
              <a:gd name="connsiteX3" fmla="*/ 4854237 w 4904790"/>
              <a:gd name="connsiteY3" fmla="*/ 1983326 h 4333769"/>
              <a:gd name="connsiteX4" fmla="*/ 4854237 w 4904790"/>
              <a:gd name="connsiteY4" fmla="*/ 2350443 h 4333769"/>
              <a:gd name="connsiteX5" fmla="*/ 3811717 w 4904790"/>
              <a:gd name="connsiteY5" fmla="*/ 4145734 h 4333769"/>
              <a:gd name="connsiteX6" fmla="*/ 3492669 w 4904790"/>
              <a:gd name="connsiteY6" fmla="*/ 4333769 h 4333769"/>
              <a:gd name="connsiteX7" fmla="*/ 1412122 w 4904790"/>
              <a:gd name="connsiteY7" fmla="*/ 4333769 h 4333769"/>
              <a:gd name="connsiteX8" fmla="*/ 1088581 w 4904790"/>
              <a:gd name="connsiteY8" fmla="*/ 4145734 h 4333769"/>
              <a:gd name="connsiteX9" fmla="*/ 50554 w 4904790"/>
              <a:gd name="connsiteY9" fmla="*/ 2350443 h 4333769"/>
              <a:gd name="connsiteX10" fmla="*/ 50554 w 4904790"/>
              <a:gd name="connsiteY10" fmla="*/ 1983326 h 4333769"/>
              <a:gd name="connsiteX11" fmla="*/ 1088581 w 4904790"/>
              <a:gd name="connsiteY11" fmla="*/ 188036 h 4333769"/>
              <a:gd name="connsiteX12" fmla="*/ 1412122 w 4904790"/>
              <a:gd name="connsiteY12" fmla="*/ 0 h 4333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4790" h="4333769">
                <a:moveTo>
                  <a:pt x="1412122" y="0"/>
                </a:moveTo>
                <a:cubicBezTo>
                  <a:pt x="1412122" y="0"/>
                  <a:pt x="1412122" y="0"/>
                  <a:pt x="3492669" y="0"/>
                </a:cubicBezTo>
                <a:cubicBezTo>
                  <a:pt x="3622985" y="0"/>
                  <a:pt x="3748806" y="71633"/>
                  <a:pt x="3811717" y="188036"/>
                </a:cubicBezTo>
                <a:cubicBezTo>
                  <a:pt x="3811717" y="188036"/>
                  <a:pt x="3811717" y="188036"/>
                  <a:pt x="4854237" y="1983326"/>
                </a:cubicBezTo>
                <a:cubicBezTo>
                  <a:pt x="4921642" y="2095252"/>
                  <a:pt x="4921642" y="2238517"/>
                  <a:pt x="4854237" y="2350443"/>
                </a:cubicBezTo>
                <a:cubicBezTo>
                  <a:pt x="4854237" y="2350443"/>
                  <a:pt x="4854237" y="2350443"/>
                  <a:pt x="3811717" y="4145734"/>
                </a:cubicBezTo>
                <a:cubicBezTo>
                  <a:pt x="3748806" y="4262137"/>
                  <a:pt x="3622985" y="4333769"/>
                  <a:pt x="3492669" y="4333769"/>
                </a:cubicBezTo>
                <a:cubicBezTo>
                  <a:pt x="3492669" y="4333769"/>
                  <a:pt x="3492669" y="4333769"/>
                  <a:pt x="1412122" y="4333769"/>
                </a:cubicBezTo>
                <a:cubicBezTo>
                  <a:pt x="1277313" y="4333769"/>
                  <a:pt x="1155985" y="4262137"/>
                  <a:pt x="1088581" y="4145734"/>
                </a:cubicBezTo>
                <a:cubicBezTo>
                  <a:pt x="1088581" y="4145734"/>
                  <a:pt x="1088581" y="4145734"/>
                  <a:pt x="50554" y="2350443"/>
                </a:cubicBezTo>
                <a:cubicBezTo>
                  <a:pt x="-16851" y="2238517"/>
                  <a:pt x="-16851" y="2095252"/>
                  <a:pt x="50554" y="1983326"/>
                </a:cubicBezTo>
                <a:cubicBezTo>
                  <a:pt x="50554" y="1983326"/>
                  <a:pt x="50554" y="1983326"/>
                  <a:pt x="1088581" y="188036"/>
                </a:cubicBezTo>
                <a:cubicBezTo>
                  <a:pt x="1155985" y="71633"/>
                  <a:pt x="1277313" y="0"/>
                  <a:pt x="1412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your photo</a:t>
            </a:r>
          </a:p>
        </p:txBody>
      </p:sp>
    </p:spTree>
    <p:extLst>
      <p:ext uri="{BB962C8B-B14F-4D97-AF65-F5344CB8AC3E}">
        <p14:creationId xmlns:p14="http://schemas.microsoft.com/office/powerpoint/2010/main" val="2829556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>
            <a:extLst>
              <a:ext uri="{FF2B5EF4-FFF2-40B4-BE49-F238E27FC236}">
                <a16:creationId xmlns:a16="http://schemas.microsoft.com/office/drawing/2014/main" id="{CD92D281-07CD-478F-9BF5-BA7D43439A3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1800" y="5530292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B2C53265-8805-42B3-82B4-151EFBC4273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537134" y="1312995"/>
            <a:ext cx="1103873" cy="968702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accent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D0111EB4-98AF-4EB7-878B-31FD32A9514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683871" y="300388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33809002-30A9-49C0-BE36-B14DD1E4D87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449746" y="5304339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FFD5C582-B212-4ADA-AB1B-0481AA39C3A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1007557" y="354617"/>
            <a:ext cx="514965" cy="451905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/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88DD7-6DAF-436D-B04A-EBCCAA369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4633398-8EC3-417B-BEA6-101D8F22467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mparison Left Placeholder 1">
            <a:extLst>
              <a:ext uri="{FF2B5EF4-FFF2-40B4-BE49-F238E27FC236}">
                <a16:creationId xmlns:a16="http://schemas.microsoft.com/office/drawing/2014/main" id="{9322B50D-6A7D-41C6-BA57-613BC231DF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15834"/>
            <a:ext cx="5472000" cy="3600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FD584DA-F775-47B8-A1D7-6556AD5FCB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2023668"/>
            <a:ext cx="5472000" cy="4168332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mparison Left Placeholder 2">
            <a:extLst>
              <a:ext uri="{FF2B5EF4-FFF2-40B4-BE49-F238E27FC236}">
                <a16:creationId xmlns:a16="http://schemas.microsoft.com/office/drawing/2014/main" id="{78A963F8-6F6E-440E-B3B3-DDE13C083A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0000" y="1516359"/>
            <a:ext cx="5472000" cy="358775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A5256-B267-47DA-858A-0F3867CB61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7" y="2020359"/>
            <a:ext cx="5472113" cy="417089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6B8F99-FAB0-4B33-87ED-9FF46D11A9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33E7E-50D2-4F6C-9DF2-CF4C98C4B8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09955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1771313" cy="61912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/>
              <a:t>Insert or Drag &amp; Drop your phot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Add a foo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3D119C-DBF5-4B4F-BE38-7BD7B5C8A5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C3BEE7-44AC-45BC-B4E7-93E3454EB8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0687" y="5066452"/>
            <a:ext cx="4459766" cy="539345"/>
          </a:xfrm>
          <a:prstGeom prst="roundRect">
            <a:avLst>
              <a:gd name="adj" fmla="val 10086"/>
            </a:avLst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  <a:lin ang="10800000" scaled="0"/>
          </a:gradFill>
          <a:ln>
            <a:solidFill>
              <a:schemeClr val="bg1">
                <a:lumMod val="50000"/>
              </a:schemeClr>
            </a:solidFill>
          </a:ln>
        </p:spPr>
        <p:txBody>
          <a:bodyPr lIns="180000" tIns="108000" rIns="180000" bIns="0" anchor="t"/>
          <a:lstStyle>
            <a:lvl1pPr algn="l">
              <a:lnSpc>
                <a:spcPct val="100000"/>
              </a:lnSpc>
              <a:defRPr sz="1800" b="0" spc="0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</a:lstStyle>
          <a:p>
            <a:r>
              <a:rPr lang="en-US" noProof="0"/>
              <a:t>Enter your caption</a:t>
            </a:r>
          </a:p>
        </p:txBody>
      </p:sp>
    </p:spTree>
    <p:extLst>
      <p:ext uri="{BB962C8B-B14F-4D97-AF65-F5344CB8AC3E}">
        <p14:creationId xmlns:p14="http://schemas.microsoft.com/office/powerpoint/2010/main" val="1987784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E278BB3-FC0C-43D3-98B1-A2E0DC6800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12048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7" imgW="622" imgH="623" progId="TCLayout.ActiveDocument.1">
                  <p:embed/>
                </p:oleObj>
              </mc:Choice>
              <mc:Fallback>
                <p:oleObj name="think-cell Slide" r:id="rId27" imgW="622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E278BB3-FC0C-43D3-98B1-A2E0DC6800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8AB164D-CB18-4CEF-BAED-633709550FBC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E81F30-8FC8-4841-8404-4DC79218B945}"/>
              </a:ext>
            </a:extLst>
          </p:cNvPr>
          <p:cNvSpPr/>
          <p:nvPr userDrawn="1"/>
        </p:nvSpPr>
        <p:spPr>
          <a:xfrm>
            <a:off x="11793520" y="0"/>
            <a:ext cx="35276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83D29F65-481C-4C80-BB65-121E5AED26B5}"/>
              </a:ext>
            </a:extLst>
          </p:cNvPr>
          <p:cNvSpPr/>
          <p:nvPr userDrawn="1"/>
        </p:nvSpPr>
        <p:spPr>
          <a:xfrm>
            <a:off x="11844618" y="6249961"/>
            <a:ext cx="230420" cy="460402"/>
          </a:xfrm>
          <a:prstGeom prst="roundRect">
            <a:avLst>
              <a:gd name="adj" fmla="val 7366"/>
            </a:avLst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C39664-EB8B-4A32-915A-D4308F792772}"/>
              </a:ext>
            </a:extLst>
          </p:cNvPr>
          <p:cNvSpPr/>
          <p:nvPr userDrawn="1"/>
        </p:nvSpPr>
        <p:spPr>
          <a:xfrm rot="5400000">
            <a:off x="8740140" y="3406142"/>
            <a:ext cx="6857999" cy="45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C6C03AE-289A-4BCC-971C-3400028C8764}"/>
              </a:ext>
            </a:extLst>
          </p:cNvPr>
          <p:cNvSpPr/>
          <p:nvPr userDrawn="1"/>
        </p:nvSpPr>
        <p:spPr>
          <a:xfrm rot="5400000">
            <a:off x="8694713" y="3406143"/>
            <a:ext cx="6857999" cy="4572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alpha val="0"/>
                </a:schemeClr>
              </a:gs>
              <a:gs pos="100000">
                <a:schemeClr val="bg1">
                  <a:lumMod val="65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F41A2-6535-4CA6-81E4-026A5B56D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28000" cy="43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pag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AB95C-7DD4-4796-80E4-1B7466A2A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12000"/>
            <a:ext cx="11328000" cy="4679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79C91-B77F-4273-9A27-A3535FB88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2000" y="6361483"/>
            <a:ext cx="5484930" cy="201532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CA3099-A94F-4C3E-BC29-780EDD38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7656" y="6277243"/>
            <a:ext cx="464344" cy="400188"/>
          </a:xfrm>
          <a:prstGeom prst="roundRect">
            <a:avLst>
              <a:gd name="adj" fmla="val 9526"/>
            </a:avLst>
          </a:prstGeom>
          <a:gradFill>
            <a:gsLst>
              <a:gs pos="20000">
                <a:schemeClr val="tx1">
                  <a:lumMod val="75000"/>
                  <a:lumOff val="25000"/>
                </a:schemeClr>
              </a:gs>
              <a:gs pos="82000">
                <a:schemeClr val="tx1"/>
              </a:gs>
            </a:gsLst>
            <a:lin ang="3000000" scaled="0"/>
          </a:gradFill>
          <a:ln w="6350">
            <a:solidFill>
              <a:schemeClr val="accent1"/>
            </a:solidFill>
          </a:ln>
        </p:spPr>
        <p:txBody>
          <a:bodyPr vert="horz" lIns="0" tIns="0" rIns="0" bIns="0" rtlCol="0" anchor="ctr"/>
          <a:lstStyle>
            <a:lvl1pPr algn="ctr">
              <a:defRPr sz="120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46163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49" r:id="rId2"/>
    <p:sldLayoutId id="2147483662" r:id="rId3"/>
    <p:sldLayoutId id="2147483663" r:id="rId4"/>
    <p:sldLayoutId id="2147483658" r:id="rId5"/>
    <p:sldLayoutId id="2147483665" r:id="rId6"/>
    <p:sldLayoutId id="2147483666" r:id="rId7"/>
    <p:sldLayoutId id="2147483659" r:id="rId8"/>
    <p:sldLayoutId id="2147483660" r:id="rId9"/>
    <p:sldLayoutId id="2147483664" r:id="rId10"/>
    <p:sldLayoutId id="2147483656" r:id="rId11"/>
    <p:sldLayoutId id="2147483657" r:id="rId12"/>
    <p:sldLayoutId id="2147483667" r:id="rId13"/>
    <p:sldLayoutId id="2147483668" r:id="rId14"/>
    <p:sldLayoutId id="2147483650" r:id="rId15"/>
    <p:sldLayoutId id="2147483652" r:id="rId16"/>
    <p:sldLayoutId id="2147483669" r:id="rId17"/>
    <p:sldLayoutId id="2147483671" r:id="rId18"/>
    <p:sldLayoutId id="2147483672" r:id="rId19"/>
    <p:sldLayoutId id="2147483670" r:id="rId20"/>
    <p:sldLayoutId id="2147483673" r:id="rId21"/>
    <p:sldLayoutId id="2147483655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10" Type="http://schemas.openxmlformats.org/officeDocument/2006/relationships/image" Target="../media/image19.jp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1F0A6B2-0BC5-4DF1-BADA-48FE10E2A72D}"/>
              </a:ext>
            </a:extLst>
          </p:cNvPr>
          <p:cNvSpPr txBox="1"/>
          <p:nvPr/>
        </p:nvSpPr>
        <p:spPr>
          <a:xfrm>
            <a:off x="95124" y="5858663"/>
            <a:ext cx="21481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err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Gebretsadik</a:t>
            </a:r>
            <a:r>
              <a:rPr lang="en-GB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 Elias</a:t>
            </a:r>
          </a:p>
          <a:p>
            <a:r>
              <a:rPr lang="en-GB" b="1" dirty="0" err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Hügli</a:t>
            </a:r>
            <a:r>
              <a:rPr lang="en-GB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 Andreas</a:t>
            </a:r>
          </a:p>
          <a:p>
            <a:r>
              <a:rPr lang="en-GB" b="1" dirty="0" err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Hernadi</a:t>
            </a:r>
            <a:r>
              <a:rPr lang="en-GB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 Gabor</a:t>
            </a:r>
          </a:p>
          <a:p>
            <a:endParaRPr lang="en-US" b="1" dirty="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2E27E9E0-5A58-499A-8E94-01DD6562069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709" b="1709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0B3D2B-613A-41BE-987D-E6A1324B4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32233" y="-11458"/>
            <a:ext cx="4459766" cy="2428087"/>
          </a:xfr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</a:gradFill>
          <a:ln>
            <a:solidFill>
              <a:schemeClr val="bg1">
                <a:lumMod val="50000"/>
              </a:schemeClr>
            </a:solidFill>
          </a:ln>
        </p:spPr>
        <p:txBody>
          <a:bodyPr anchor="ctr" anchorCtr="0"/>
          <a:lstStyle/>
          <a:p>
            <a:r>
              <a:rPr lang="en-US" dirty="0"/>
              <a:t>Swiss </a:t>
            </a:r>
            <a:br>
              <a:rPr lang="en-US" dirty="0"/>
            </a:br>
            <a:r>
              <a:rPr lang="en-US" dirty="0"/>
              <a:t>Student </a:t>
            </a:r>
            <a:br>
              <a:rPr lang="en-US" dirty="0"/>
            </a:br>
            <a:r>
              <a:rPr lang="en-US" dirty="0"/>
              <a:t>Enrol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F8E3F-C285-4677-B507-E5EFD8D816D0}"/>
              </a:ext>
            </a:extLst>
          </p:cNvPr>
          <p:cNvSpPr/>
          <p:nvPr/>
        </p:nvSpPr>
        <p:spPr>
          <a:xfrm>
            <a:off x="5988120" y="5920683"/>
            <a:ext cx="1843743" cy="9233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GB" b="1" dirty="0" err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Gebretsadik</a:t>
            </a:r>
            <a:r>
              <a:rPr lang="en-GB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 Elias</a:t>
            </a:r>
          </a:p>
          <a:p>
            <a:r>
              <a:rPr lang="en-GB" b="1" err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Hernadi</a:t>
            </a:r>
            <a:r>
              <a:rPr lang="en-GB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 Gabor</a:t>
            </a:r>
            <a:endParaRPr lang="en-GB" b="1" dirty="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Calibri Light"/>
            </a:endParaRPr>
          </a:p>
          <a:p>
            <a:r>
              <a:rPr lang="en-GB" b="1" dirty="0" err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a typeface="+mn-lt"/>
                <a:cs typeface="+mn-lt"/>
              </a:rPr>
              <a:t>Hügli</a:t>
            </a:r>
            <a:r>
              <a:rPr lang="en-GB" b="1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a typeface="+mn-lt"/>
                <a:cs typeface="+mn-lt"/>
              </a:rPr>
              <a:t> Andrea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9961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FE0EB28A-1589-4331-B51E-EFFF6BC064BF}"/>
              </a:ext>
            </a:extLst>
          </p:cNvPr>
          <p:cNvSpPr txBox="1">
            <a:spLocks/>
          </p:cNvSpPr>
          <p:nvPr/>
        </p:nvSpPr>
        <p:spPr>
          <a:xfrm>
            <a:off x="-3859" y="-6684"/>
            <a:ext cx="8173941" cy="1088061"/>
          </a:xfrm>
          <a:prstGeom prst="rect">
            <a:avLst/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</a:gradFill>
          <a:ln>
            <a:solidFill>
              <a:schemeClr val="bg1">
                <a:lumMod val="50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       The current situation – “</a:t>
            </a:r>
            <a:r>
              <a:rPr lang="en-US" dirty="0" err="1">
                <a:solidFill>
                  <a:schemeClr val="bg1"/>
                </a:solidFill>
              </a:rPr>
              <a:t>Stoneage</a:t>
            </a:r>
            <a:r>
              <a:rPr lang="en-US" dirty="0">
                <a:solidFill>
                  <a:schemeClr val="bg1"/>
                </a:solidFill>
              </a:rPr>
              <a:t>”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4117496-747E-4276-B804-C5D2A931BC6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6863" y="6276975"/>
            <a:ext cx="465137" cy="400050"/>
          </a:xfrm>
        </p:spPr>
        <p:txBody>
          <a:bodyPr/>
          <a:lstStyle/>
          <a:p>
            <a:fld id="{F73482D4-BA56-46C4-8087-2B163E467A4E}" type="slidenum">
              <a:rPr lang="de-CH" smtClean="0"/>
              <a:t>2</a:t>
            </a:fld>
            <a:endParaRPr lang="de-CH"/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23816876-FD06-4805-9C72-68B2DA8C5EBB}"/>
              </a:ext>
            </a:extLst>
          </p:cNvPr>
          <p:cNvSpPr txBox="1"/>
          <p:nvPr/>
        </p:nvSpPr>
        <p:spPr>
          <a:xfrm>
            <a:off x="-100774" y="1739467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 </a:t>
            </a:r>
            <a:endParaRPr lang="en-CH" dirty="0"/>
          </a:p>
        </p:txBody>
      </p:sp>
      <p:pic>
        <p:nvPicPr>
          <p:cNvPr id="9" name="Content Placeholder 9" descr="Ein Bild, das Text, Karte enthält.&#10;&#10;Mit sehr hoher Zuverlässigkeit generierte Beschreibung">
            <a:extLst>
              <a:ext uri="{FF2B5EF4-FFF2-40B4-BE49-F238E27FC236}">
                <a16:creationId xmlns:a16="http://schemas.microsoft.com/office/drawing/2014/main" id="{40A91EA9-E9FC-4F1A-85BD-CBCC348545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9982" y="1342929"/>
            <a:ext cx="9128897" cy="5075048"/>
          </a:xfrm>
          <a:prstGeom prst="rect">
            <a:avLst/>
          </a:prstGeom>
        </p:spPr>
      </p:pic>
      <p:sp>
        <p:nvSpPr>
          <p:cNvPr id="13" name="Rectangle 10">
            <a:extLst>
              <a:ext uri="{FF2B5EF4-FFF2-40B4-BE49-F238E27FC236}">
                <a16:creationId xmlns:a16="http://schemas.microsoft.com/office/drawing/2014/main" id="{1C980590-AF7B-44EE-84C4-9F81FBBCBBFA}"/>
              </a:ext>
            </a:extLst>
          </p:cNvPr>
          <p:cNvSpPr/>
          <p:nvPr/>
        </p:nvSpPr>
        <p:spPr>
          <a:xfrm>
            <a:off x="4837000" y="3315579"/>
            <a:ext cx="749644" cy="4613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7" name="Rectangle 14">
            <a:extLst>
              <a:ext uri="{FF2B5EF4-FFF2-40B4-BE49-F238E27FC236}">
                <a16:creationId xmlns:a16="http://schemas.microsoft.com/office/drawing/2014/main" id="{87061D56-DFE6-428A-AF9C-F6B7B12C8F9B}"/>
              </a:ext>
            </a:extLst>
          </p:cNvPr>
          <p:cNvSpPr/>
          <p:nvPr/>
        </p:nvSpPr>
        <p:spPr>
          <a:xfrm>
            <a:off x="8811243" y="3316867"/>
            <a:ext cx="749644" cy="4613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5F5977D1-0D7C-461F-88D0-8C42F6B93049}"/>
              </a:ext>
            </a:extLst>
          </p:cNvPr>
          <p:cNvSpPr/>
          <p:nvPr/>
        </p:nvSpPr>
        <p:spPr>
          <a:xfrm>
            <a:off x="7401543" y="2612017"/>
            <a:ext cx="749644" cy="4613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68AAD502-C813-44DD-83FC-CBA2574D6648}"/>
              </a:ext>
            </a:extLst>
          </p:cNvPr>
          <p:cNvSpPr/>
          <p:nvPr/>
        </p:nvSpPr>
        <p:spPr>
          <a:xfrm>
            <a:off x="9684401" y="3382254"/>
            <a:ext cx="445582" cy="3629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5" name="Rectangle 18">
            <a:extLst>
              <a:ext uri="{FF2B5EF4-FFF2-40B4-BE49-F238E27FC236}">
                <a16:creationId xmlns:a16="http://schemas.microsoft.com/office/drawing/2014/main" id="{721BD65E-032C-48E9-833F-3A0A16EFC3D0}"/>
              </a:ext>
            </a:extLst>
          </p:cNvPr>
          <p:cNvSpPr/>
          <p:nvPr/>
        </p:nvSpPr>
        <p:spPr>
          <a:xfrm>
            <a:off x="8402275" y="2661186"/>
            <a:ext cx="445582" cy="3629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97D50325-58EE-43C4-B006-41049BFB723A}"/>
              </a:ext>
            </a:extLst>
          </p:cNvPr>
          <p:cNvSpPr/>
          <p:nvPr/>
        </p:nvSpPr>
        <p:spPr>
          <a:xfrm>
            <a:off x="6639285" y="5742920"/>
            <a:ext cx="749644" cy="4613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9" name="Rectangle 20">
            <a:extLst>
              <a:ext uri="{FF2B5EF4-FFF2-40B4-BE49-F238E27FC236}">
                <a16:creationId xmlns:a16="http://schemas.microsoft.com/office/drawing/2014/main" id="{D69156ED-C1D1-46C6-B935-87C6EFD859A8}"/>
              </a:ext>
            </a:extLst>
          </p:cNvPr>
          <p:cNvSpPr/>
          <p:nvPr/>
        </p:nvSpPr>
        <p:spPr>
          <a:xfrm>
            <a:off x="2429351" y="2807217"/>
            <a:ext cx="826755" cy="4613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AD5ADDFA-0A0D-4A3F-8C26-1233F8C75484}"/>
              </a:ext>
            </a:extLst>
          </p:cNvPr>
          <p:cNvSpPr/>
          <p:nvPr/>
        </p:nvSpPr>
        <p:spPr>
          <a:xfrm>
            <a:off x="3036775" y="4077579"/>
            <a:ext cx="826754" cy="5357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939534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4117496-747E-4276-B804-C5D2A931BC6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6863" y="6276975"/>
            <a:ext cx="465137" cy="400050"/>
          </a:xfrm>
        </p:spPr>
        <p:txBody>
          <a:bodyPr/>
          <a:lstStyle/>
          <a:p>
            <a:fld id="{F73482D4-BA56-46C4-8087-2B163E467A4E}" type="slidenum">
              <a:rPr lang="de-CH" smtClean="0"/>
              <a:t>3</a:t>
            </a:fld>
            <a:endParaRPr lang="de-CH"/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89AF04CC-E06E-42A8-B9C2-6EEB9790954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03023" y="1304061"/>
            <a:ext cx="7976027" cy="5304960"/>
          </a:xfrm>
        </p:spPr>
      </p:pic>
      <p:sp>
        <p:nvSpPr>
          <p:cNvPr id="19" name="Title 2">
            <a:extLst>
              <a:ext uri="{FF2B5EF4-FFF2-40B4-BE49-F238E27FC236}">
                <a16:creationId xmlns:a16="http://schemas.microsoft.com/office/drawing/2014/main" id="{81F6AFA2-C90B-4FAB-8D3E-F07ACD3F051C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8173941" cy="1081377"/>
          </a:xfrm>
          <a:prstGeom prst="rect">
            <a:avLst/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</a:gradFill>
          <a:ln>
            <a:solidFill>
              <a:schemeClr val="bg1">
                <a:lumMod val="50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       Our solution – “</a:t>
            </a:r>
            <a:r>
              <a:rPr lang="en-US" b="1" dirty="0" err="1">
                <a:solidFill>
                  <a:schemeClr val="bg1"/>
                </a:solidFill>
              </a:rPr>
              <a:t>AI</a:t>
            </a:r>
            <a:r>
              <a:rPr lang="en-US" dirty="0" err="1">
                <a:solidFill>
                  <a:schemeClr val="bg1"/>
                </a:solidFill>
              </a:rPr>
              <a:t>nrolement</a:t>
            </a:r>
            <a:r>
              <a:rPr lang="en-US" dirty="0">
                <a:solidFill>
                  <a:schemeClr val="bg1"/>
                </a:solidFill>
              </a:rPr>
              <a:t>”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CBDFC31-EF63-4EE0-AF3D-1BE3BA8D43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44162" y="1949281"/>
            <a:ext cx="3171528" cy="342525"/>
          </a:xfrm>
          <a:prstGeom prst="rect">
            <a:avLst/>
          </a:prstGeom>
        </p:spPr>
      </p:pic>
      <p:pic>
        <p:nvPicPr>
          <p:cNvPr id="2054" name="Picture 6" descr="https://s14-eu5.startpage.com/cgi-bin/serveimage?url=https%3A%2F%2Fupload.wikimedia.org%2Fwikipedia%2Fcommons%2Fd%2Fda%2FGoogle_Drive_logo.png&amp;sp=93bd54332bc0ffe175e98040aa365a2b&amp;anticache=996084">
            <a:extLst>
              <a:ext uri="{FF2B5EF4-FFF2-40B4-BE49-F238E27FC236}">
                <a16:creationId xmlns:a16="http://schemas.microsoft.com/office/drawing/2014/main" id="{DA9B1AE7-379F-4CF7-856C-AC4648B178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5252" y="3009575"/>
            <a:ext cx="1124578" cy="112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C3B2BD4-CB98-4D0B-B180-1E8549CC37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7785" y="2923465"/>
            <a:ext cx="1321781" cy="1306553"/>
          </a:xfrm>
          <a:prstGeom prst="rect">
            <a:avLst/>
          </a:prstGeom>
        </p:spPr>
      </p:pic>
      <p:pic>
        <p:nvPicPr>
          <p:cNvPr id="2060" name="Picture 12" descr="https://s14-eu5.startpage.com/cgi-bin/serveimage?url=https%3A%2F%2Fencrypted-tbn0.gstatic.com%2Fimages%3Fq%3Dtbn%3AANd9GcSONcyuoNgcYD-76RMfslnWJBXTQyJ8pTj5u-kxSSy22yHj_CshLA%26s&amp;sp=c3b1dbc7529f1906b23b372eab4b95ce&amp;anticache=241821">
            <a:extLst>
              <a:ext uri="{FF2B5EF4-FFF2-40B4-BE49-F238E27FC236}">
                <a16:creationId xmlns:a16="http://schemas.microsoft.com/office/drawing/2014/main" id="{A26F0571-4AB5-4B2E-A4D2-63D313718E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162" y="4765812"/>
            <a:ext cx="1215680" cy="1215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42B31A1-4683-4397-98F4-A2764B2927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07785" y="4765812"/>
            <a:ext cx="1602933" cy="121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15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F43471B-DC9F-4B81-B283-B1A401215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0D1CBAE-BB80-4896-9BEE-F3A68C8DF7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231089" y="1596809"/>
            <a:ext cx="7345424" cy="4680434"/>
          </a:xfrm>
        </p:spPr>
        <p:txBody>
          <a:bodyPr vert="horz" lIns="0" tIns="0" rIns="0" bIns="0" rtlCol="0" anchor="t">
            <a:noAutofit/>
          </a:bodyPr>
          <a:lstStyle/>
          <a:p>
            <a:pPr>
              <a:buFont typeface="Wingdings" panose="020B0604020202020204" pitchFamily="34" charset="0"/>
              <a:buChar char="ü"/>
            </a:pPr>
            <a:r>
              <a:rPr lang="de-DE" sz="2800" dirty="0" err="1">
                <a:cs typeface="Calibri Light"/>
              </a:rPr>
              <a:t>Less</a:t>
            </a:r>
            <a:r>
              <a:rPr lang="de-DE" sz="2800" dirty="0">
                <a:cs typeface="Calibri Light"/>
              </a:rPr>
              <a:t> people-intensive</a:t>
            </a:r>
            <a:endParaRPr lang="de-DE" dirty="0">
              <a:cs typeface="Calibri Light"/>
            </a:endParaRPr>
          </a:p>
          <a:p>
            <a:pPr>
              <a:buFont typeface="Wingdings" panose="020B0604020202020204" pitchFamily="34" charset="0"/>
              <a:buChar char="ü"/>
            </a:pPr>
            <a:r>
              <a:rPr lang="de-DE" sz="2800" dirty="0" err="1">
                <a:cs typeface="Calibri Light"/>
              </a:rPr>
              <a:t>Automated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qualification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decision</a:t>
            </a:r>
            <a:endParaRPr lang="de-DE" sz="2800" dirty="0">
              <a:cs typeface="Calibri Light"/>
            </a:endParaRPr>
          </a:p>
          <a:p>
            <a:pPr>
              <a:buFont typeface="Wingdings" panose="020B0604020202020204" pitchFamily="34" charset="0"/>
              <a:buChar char="ü"/>
            </a:pPr>
            <a:r>
              <a:rPr lang="de-DE" sz="2800" dirty="0" err="1">
                <a:cs typeface="Calibri Light"/>
              </a:rPr>
              <a:t>Automated</a:t>
            </a:r>
            <a:r>
              <a:rPr lang="de-DE" sz="2800" dirty="0">
                <a:cs typeface="Calibri Light"/>
              </a:rPr>
              <a:t> </a:t>
            </a:r>
            <a:r>
              <a:rPr lang="de-DE" sz="2800" dirty="0" err="1">
                <a:cs typeface="Calibri Light"/>
              </a:rPr>
              <a:t>appointment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scheduling</a:t>
            </a:r>
            <a:endParaRPr lang="de-DE" sz="2800" dirty="0">
              <a:cs typeface="Calibri Light"/>
            </a:endParaRPr>
          </a:p>
          <a:p>
            <a:pPr>
              <a:buFont typeface="Wingdings" panose="020B0604020202020204" pitchFamily="34" charset="0"/>
              <a:buChar char="ü"/>
            </a:pPr>
            <a:r>
              <a:rPr lang="de-DE" sz="2800" dirty="0">
                <a:cs typeface="Calibri Light"/>
              </a:rPr>
              <a:t>Score </a:t>
            </a:r>
            <a:r>
              <a:rPr lang="de-DE" sz="2800" dirty="0" err="1">
                <a:cs typeface="Calibri Light"/>
              </a:rPr>
              <a:t>algorithm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for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interviews</a:t>
            </a:r>
            <a:endParaRPr lang="de-DE" sz="2800" dirty="0">
              <a:cs typeface="Calibri Light"/>
            </a:endParaRPr>
          </a:p>
          <a:p>
            <a:pPr>
              <a:buFont typeface="Wingdings" panose="020B0604020202020204" pitchFamily="34" charset="0"/>
              <a:buChar char="ü"/>
            </a:pPr>
            <a:r>
              <a:rPr lang="de-DE" sz="2800" dirty="0" err="1">
                <a:cs typeface="Calibri Light"/>
              </a:rPr>
              <a:t>Automated</a:t>
            </a:r>
            <a:r>
              <a:rPr lang="de-DE" sz="2800" dirty="0">
                <a:cs typeface="Calibri Light"/>
              </a:rPr>
              <a:t> </a:t>
            </a:r>
            <a:r>
              <a:rPr lang="de-DE" sz="2800" dirty="0" err="1">
                <a:cs typeface="Calibri Light"/>
              </a:rPr>
              <a:t>communication</a:t>
            </a:r>
            <a:br>
              <a:rPr lang="de-DE" sz="2800" dirty="0">
                <a:cs typeface="Calibri Light"/>
              </a:rPr>
            </a:br>
            <a:endParaRPr lang="de-DE" sz="2800" dirty="0">
              <a:cs typeface="Calibri Light"/>
            </a:endParaRPr>
          </a:p>
          <a:p>
            <a:pPr>
              <a:buFont typeface="Wingdings" panose="020B0604020202020204" pitchFamily="34" charset="0"/>
              <a:buChar char="ü"/>
            </a:pPr>
            <a:r>
              <a:rPr lang="de-DE" sz="2800" dirty="0" err="1">
                <a:cs typeface="Calibri Light"/>
              </a:rPr>
              <a:t>Adaptable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for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new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programmes</a:t>
            </a:r>
            <a:r>
              <a:rPr lang="de-DE" sz="2800" dirty="0">
                <a:cs typeface="Calibri Light"/>
              </a:rPr>
              <a:t> / </a:t>
            </a:r>
            <a:r>
              <a:rPr lang="de-DE" sz="2800" dirty="0" err="1">
                <a:cs typeface="Calibri Light"/>
              </a:rPr>
              <a:t>universities</a:t>
            </a:r>
            <a:endParaRPr lang="de-DE" sz="2800" dirty="0">
              <a:cs typeface="Calibri Light"/>
            </a:endParaRPr>
          </a:p>
          <a:p>
            <a:pPr>
              <a:buFont typeface="Wingdings" panose="020B0604020202020204" pitchFamily="34" charset="0"/>
              <a:buChar char="ü"/>
            </a:pPr>
            <a:r>
              <a:rPr lang="de-DE" sz="2800" dirty="0" err="1">
                <a:cs typeface="Calibri Light"/>
              </a:rPr>
              <a:t>Adoptable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for</a:t>
            </a:r>
            <a:r>
              <a:rPr lang="de-DE" sz="2800" dirty="0">
                <a:cs typeface="Calibri Light"/>
              </a:rPr>
              <a:t> </a:t>
            </a:r>
            <a:r>
              <a:rPr lang="de-DE" sz="2800" dirty="0" err="1">
                <a:cs typeface="Calibri Light"/>
              </a:rPr>
              <a:t>internationalisation</a:t>
            </a:r>
            <a:endParaRPr lang="de-DE" sz="2800" dirty="0">
              <a:cs typeface="Calibri Light"/>
            </a:endParaRPr>
          </a:p>
          <a:p>
            <a:pPr>
              <a:buFont typeface="Wingdings" panose="020B0604020202020204" pitchFamily="34" charset="0"/>
              <a:buChar char="ü"/>
            </a:pPr>
            <a:r>
              <a:rPr lang="de-DE" sz="2800" dirty="0">
                <a:cs typeface="Calibri Light"/>
              </a:rPr>
              <a:t>Fully </a:t>
            </a:r>
            <a:r>
              <a:rPr lang="de-DE" sz="2800" dirty="0" err="1">
                <a:cs typeface="Calibri Light"/>
              </a:rPr>
              <a:t>scalable</a:t>
            </a:r>
            <a:endParaRPr lang="de-DE" sz="2000" dirty="0">
              <a:cs typeface="Calibri Light"/>
            </a:endParaRPr>
          </a:p>
          <a:p>
            <a:pPr>
              <a:buFont typeface="Wingdings"/>
              <a:buChar char="ü"/>
            </a:pPr>
            <a:endParaRPr lang="de-DE" dirty="0">
              <a:cs typeface="Calibri Light"/>
            </a:endParaRPr>
          </a:p>
          <a:p>
            <a:pPr>
              <a:buFont typeface="Wingdings"/>
              <a:buChar char="ü"/>
            </a:pPr>
            <a:endParaRPr lang="de-DE" dirty="0">
              <a:cs typeface="Calibri Ligh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559909-56C7-4073-BCD8-CCA05049A11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2EB608D4-649E-49B5-9B82-C8611876587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8173941" cy="1081377"/>
          </a:xfrm>
          <a:prstGeom prst="rect">
            <a:avLst/>
          </a:prstGeom>
          <a:gradFill>
            <a:gsLst>
              <a:gs pos="100000">
                <a:schemeClr val="tx1">
                  <a:lumMod val="95000"/>
                  <a:lumOff val="5000"/>
                </a:schemeClr>
              </a:gs>
              <a:gs pos="0">
                <a:schemeClr val="tx1">
                  <a:lumMod val="75000"/>
                  <a:lumOff val="25000"/>
                </a:schemeClr>
              </a:gs>
            </a:gsLst>
          </a:gradFill>
          <a:ln>
            <a:solidFill>
              <a:schemeClr val="bg1">
                <a:lumMod val="50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       New features</a:t>
            </a:r>
          </a:p>
        </p:txBody>
      </p:sp>
    </p:spTree>
    <p:extLst>
      <p:ext uri="{BB962C8B-B14F-4D97-AF65-F5344CB8AC3E}">
        <p14:creationId xmlns:p14="http://schemas.microsoft.com/office/powerpoint/2010/main" val="377348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id="{B231FB9C-F234-41D0-A4CE-8C29A5F2F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354303" y="3842399"/>
            <a:ext cx="846997" cy="2200275"/>
          </a:xfrm>
          <a:custGeom>
            <a:avLst/>
            <a:gdLst>
              <a:gd name="connsiteX0" fmla="*/ 99480 w 846997"/>
              <a:gd name="connsiteY0" fmla="*/ 0 h 2200275"/>
              <a:gd name="connsiteX1" fmla="*/ 846997 w 846997"/>
              <a:gd name="connsiteY1" fmla="*/ 0 h 2200275"/>
              <a:gd name="connsiteX2" fmla="*/ 846997 w 846997"/>
              <a:gd name="connsiteY2" fmla="*/ 2200275 h 2200275"/>
              <a:gd name="connsiteX3" fmla="*/ 99480 w 846997"/>
              <a:gd name="connsiteY3" fmla="*/ 2200275 h 2200275"/>
              <a:gd name="connsiteX4" fmla="*/ 0 w 846997"/>
              <a:gd name="connsiteY4" fmla="*/ 2099942 h 2200275"/>
              <a:gd name="connsiteX5" fmla="*/ 0 w 846997"/>
              <a:gd name="connsiteY5" fmla="*/ 100333 h 2200275"/>
              <a:gd name="connsiteX6" fmla="*/ 99480 w 846997"/>
              <a:gd name="connsiteY6" fmla="*/ 0 h 2200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6997" h="2200275">
                <a:moveTo>
                  <a:pt x="99480" y="0"/>
                </a:moveTo>
                <a:lnTo>
                  <a:pt x="846997" y="0"/>
                </a:lnTo>
                <a:lnTo>
                  <a:pt x="846997" y="2200275"/>
                </a:lnTo>
                <a:lnTo>
                  <a:pt x="99480" y="2200275"/>
                </a:lnTo>
                <a:cubicBezTo>
                  <a:pt x="44539" y="2200275"/>
                  <a:pt x="0" y="2155354"/>
                  <a:pt x="0" y="2099942"/>
                </a:cubicBezTo>
                <a:lnTo>
                  <a:pt x="0" y="100333"/>
                </a:lnTo>
                <a:cubicBezTo>
                  <a:pt x="0" y="44921"/>
                  <a:pt x="44539" y="0"/>
                  <a:pt x="99480" y="0"/>
                </a:cubicBezTo>
                <a:close/>
              </a:path>
            </a:pathLst>
          </a:cu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0">
                <a:schemeClr val="tx1"/>
              </a:gs>
            </a:gsLst>
            <a:lin ang="0" scaled="0"/>
          </a:gradFill>
          <a:ln w="3175"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wrap="square" lIns="180000" tIns="288000" rIns="180000" bIns="180000" rtlCol="0" anchor="t">
            <a:no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5000" b="1" kern="1200" spc="-300">
                <a:solidFill>
                  <a:schemeClr val="bg1">
                    <a:lumMod val="9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FE193317-B8BD-46CA-B0A6-8A7511B086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11359065" y="5556894"/>
            <a:ext cx="476249" cy="424971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 5">
            <a:extLst>
              <a:ext uri="{FF2B5EF4-FFF2-40B4-BE49-F238E27FC236}">
                <a16:creationId xmlns:a16="http://schemas.microsoft.com/office/drawing/2014/main" id="{85E0D4E1-E389-4671-B0E7-165A10A05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4257349" y="2355010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5">
            <a:extLst>
              <a:ext uri="{FF2B5EF4-FFF2-40B4-BE49-F238E27FC236}">
                <a16:creationId xmlns:a16="http://schemas.microsoft.com/office/drawing/2014/main" id="{8186FEAF-6E1E-4258-94C3-5C589D4B5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>
            <a:off x="6490727" y="1236374"/>
            <a:ext cx="1838651" cy="1613506"/>
          </a:xfrm>
          <a:custGeom>
            <a:avLst/>
            <a:gdLst>
              <a:gd name="T0" fmla="*/ 781 w 1099"/>
              <a:gd name="T1" fmla="*/ 0 h 968"/>
              <a:gd name="T2" fmla="*/ 318 w 1099"/>
              <a:gd name="T3" fmla="*/ 0 h 968"/>
              <a:gd name="T4" fmla="*/ 246 w 1099"/>
              <a:gd name="T5" fmla="*/ 42 h 968"/>
              <a:gd name="T6" fmla="*/ 15 w 1099"/>
              <a:gd name="T7" fmla="*/ 443 h 968"/>
              <a:gd name="T8" fmla="*/ 15 w 1099"/>
              <a:gd name="T9" fmla="*/ 525 h 968"/>
              <a:gd name="T10" fmla="*/ 246 w 1099"/>
              <a:gd name="T11" fmla="*/ 926 h 968"/>
              <a:gd name="T12" fmla="*/ 318 w 1099"/>
              <a:gd name="T13" fmla="*/ 968 h 968"/>
              <a:gd name="T14" fmla="*/ 781 w 1099"/>
              <a:gd name="T15" fmla="*/ 968 h 968"/>
              <a:gd name="T16" fmla="*/ 852 w 1099"/>
              <a:gd name="T17" fmla="*/ 926 h 968"/>
              <a:gd name="T18" fmla="*/ 1084 w 1099"/>
              <a:gd name="T19" fmla="*/ 525 h 968"/>
              <a:gd name="T20" fmla="*/ 1084 w 1099"/>
              <a:gd name="T21" fmla="*/ 443 h 968"/>
              <a:gd name="T22" fmla="*/ 852 w 1099"/>
              <a:gd name="T23" fmla="*/ 42 h 968"/>
              <a:gd name="T24" fmla="*/ 781 w 1099"/>
              <a:gd name="T25" fmla="*/ 0 h 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9" h="968">
                <a:moveTo>
                  <a:pt x="781" y="0"/>
                </a:moveTo>
                <a:cubicBezTo>
                  <a:pt x="318" y="0"/>
                  <a:pt x="318" y="0"/>
                  <a:pt x="318" y="0"/>
                </a:cubicBezTo>
                <a:cubicBezTo>
                  <a:pt x="288" y="0"/>
                  <a:pt x="261" y="16"/>
                  <a:pt x="246" y="42"/>
                </a:cubicBezTo>
                <a:cubicBezTo>
                  <a:pt x="15" y="443"/>
                  <a:pt x="15" y="443"/>
                  <a:pt x="15" y="443"/>
                </a:cubicBezTo>
                <a:cubicBezTo>
                  <a:pt x="0" y="468"/>
                  <a:pt x="0" y="500"/>
                  <a:pt x="15" y="525"/>
                </a:cubicBezTo>
                <a:cubicBezTo>
                  <a:pt x="246" y="926"/>
                  <a:pt x="246" y="926"/>
                  <a:pt x="246" y="926"/>
                </a:cubicBezTo>
                <a:cubicBezTo>
                  <a:pt x="261" y="952"/>
                  <a:pt x="288" y="968"/>
                  <a:pt x="318" y="968"/>
                </a:cubicBezTo>
                <a:cubicBezTo>
                  <a:pt x="781" y="968"/>
                  <a:pt x="781" y="968"/>
                  <a:pt x="781" y="968"/>
                </a:cubicBezTo>
                <a:cubicBezTo>
                  <a:pt x="810" y="968"/>
                  <a:pt x="838" y="952"/>
                  <a:pt x="852" y="926"/>
                </a:cubicBezTo>
                <a:cubicBezTo>
                  <a:pt x="1084" y="525"/>
                  <a:pt x="1084" y="525"/>
                  <a:pt x="1084" y="525"/>
                </a:cubicBezTo>
                <a:cubicBezTo>
                  <a:pt x="1099" y="500"/>
                  <a:pt x="1099" y="468"/>
                  <a:pt x="1084" y="443"/>
                </a:cubicBezTo>
                <a:cubicBezTo>
                  <a:pt x="852" y="42"/>
                  <a:pt x="852" y="42"/>
                  <a:pt x="852" y="42"/>
                </a:cubicBezTo>
                <a:cubicBezTo>
                  <a:pt x="838" y="16"/>
                  <a:pt x="810" y="0"/>
                  <a:pt x="781" y="0"/>
                </a:cubicBezTo>
                <a:close/>
              </a:path>
            </a:pathLst>
          </a:custGeom>
          <a:noFill/>
          <a:ln w="63500" cap="flat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Graphic 7" descr="User" title="Icon - Presenter Name">
            <a:extLst>
              <a:ext uri="{FF2B5EF4-FFF2-40B4-BE49-F238E27FC236}">
                <a16:creationId xmlns:a16="http://schemas.microsoft.com/office/drawing/2014/main" id="{111541C4-DB03-4E53-994D-499C7D73C4D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78512" y="3859066"/>
            <a:ext cx="218900" cy="218900"/>
          </a:xfrm>
          <a:prstGeom prst="rect">
            <a:avLst/>
          </a:prstGeom>
        </p:spPr>
      </p:pic>
      <p:pic>
        <p:nvPicPr>
          <p:cNvPr id="10" name="Graphic 9" descr="Smart Phone" title="Icon - Presenter Phone Number">
            <a:extLst>
              <a:ext uri="{FF2B5EF4-FFF2-40B4-BE49-F238E27FC236}">
                <a16:creationId xmlns:a16="http://schemas.microsoft.com/office/drawing/2014/main" id="{A29DE31C-E099-4579-BB03-675E0A40C5F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78512" y="4223565"/>
            <a:ext cx="218900" cy="218900"/>
          </a:xfrm>
          <a:prstGeom prst="rect">
            <a:avLst/>
          </a:prstGeom>
        </p:spPr>
      </p:pic>
      <p:pic>
        <p:nvPicPr>
          <p:cNvPr id="9" name="Graphic 8" descr="Envelope" title="Icon Presenter Email">
            <a:extLst>
              <a:ext uri="{FF2B5EF4-FFF2-40B4-BE49-F238E27FC236}">
                <a16:creationId xmlns:a16="http://schemas.microsoft.com/office/drawing/2014/main" id="{773C1382-ACE1-460F-A1B6-AB761A7D2E6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78512" y="4615862"/>
            <a:ext cx="218900" cy="218900"/>
          </a:xfrm>
          <a:prstGeom prst="rect">
            <a:avLst/>
          </a:prstGeom>
        </p:spPr>
      </p:pic>
      <p:pic>
        <p:nvPicPr>
          <p:cNvPr id="11" name="Graphic 10" descr="Link">
            <a:extLst>
              <a:ext uri="{FF2B5EF4-FFF2-40B4-BE49-F238E27FC236}">
                <a16:creationId xmlns:a16="http://schemas.microsoft.com/office/drawing/2014/main" id="{0718E6E0-05A2-479C-AEA8-1A385EB7347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61653" y="4942435"/>
            <a:ext cx="244786" cy="244786"/>
          </a:xfrm>
          <a:prstGeom prst="rect">
            <a:avLst/>
          </a:prstGeom>
        </p:spPr>
      </p:pic>
      <p:sp>
        <p:nvSpPr>
          <p:cNvPr id="15" name="Szöveg helye 14">
            <a:extLst>
              <a:ext uri="{FF2B5EF4-FFF2-40B4-BE49-F238E27FC236}">
                <a16:creationId xmlns:a16="http://schemas.microsoft.com/office/drawing/2014/main" id="{BABF8EFB-7091-48DB-B4A2-DE77F1529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18DCC556-D72E-4F04-9CC6-6B44B4B07B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A241B004-148D-4D83-97FF-B382351EC70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0"/>
          <a:srcRect l="6302" r="6302"/>
          <a:stretch>
            <a:fillRect/>
          </a:stretch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0AA99B6E-FBB8-4EA6-AC74-B3E82DA7A80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563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_MFwqzLGf9q5VfGvan5w"/>
</p:tagLst>
</file>

<file path=ppt/theme/theme1.xml><?xml version="1.0" encoding="utf-8"?>
<a:theme xmlns:a="http://schemas.openxmlformats.org/drawingml/2006/main" name="Office Theme">
  <a:themeElements>
    <a:clrScheme name="Custom 129">
      <a:dk1>
        <a:sysClr val="windowText" lastClr="000000"/>
      </a:dk1>
      <a:lt1>
        <a:srgbClr val="FFFFFF"/>
      </a:lt1>
      <a:dk2>
        <a:srgbClr val="3F3F3F"/>
      </a:dk2>
      <a:lt2>
        <a:srgbClr val="F2F2F2"/>
      </a:lt2>
      <a:accent1>
        <a:srgbClr val="25C6E3"/>
      </a:accent1>
      <a:accent2>
        <a:srgbClr val="E80554"/>
      </a:accent2>
      <a:accent3>
        <a:srgbClr val="A9E26F"/>
      </a:accent3>
      <a:accent4>
        <a:srgbClr val="EAD000"/>
      </a:accent4>
      <a:accent5>
        <a:srgbClr val="1A0F49"/>
      </a:accent5>
      <a:accent6>
        <a:srgbClr val="FF4A01"/>
      </a:accent6>
      <a:hlink>
        <a:srgbClr val="25C6E3"/>
      </a:hlink>
      <a:folHlink>
        <a:srgbClr val="25C6E3"/>
      </a:folHlink>
    </a:clrScheme>
    <a:fontScheme name="Custom 147">
      <a:majorFont>
        <a:latin typeface="Corbel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F16411253_Geometric presentation_AAS_v3" id="{5F394A36-244E-477B-9B00-631A6705923C}" vid="{7FC6DB14-D4FF-4031-8ADB-F8536C0C40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291512c1ee715ab617f4c07df79fc1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256c27c40ca5c40ce1cf6c44f0205df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AE7CBC-C35C-4FA9-B339-59E31F30C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861FE8A-8F15-409F-AF62-619C69C0D537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3.xml><?xml version="1.0" encoding="utf-8"?>
<ds:datastoreItem xmlns:ds="http://schemas.openxmlformats.org/officeDocument/2006/customXml" ds:itemID="{8A930687-51F2-44C8-9CE6-D1B3D6E1752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63</Words>
  <Application>Microsoft Office PowerPoint</Application>
  <PresentationFormat>Breitbild</PresentationFormat>
  <Paragraphs>26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Corbel</vt:lpstr>
      <vt:lpstr>Times New Roman</vt:lpstr>
      <vt:lpstr>Wingdings</vt:lpstr>
      <vt:lpstr>Office Theme</vt:lpstr>
      <vt:lpstr>think-cell Slide</vt:lpstr>
      <vt:lpstr>Swiss  Student  Enrolment</vt:lpstr>
      <vt:lpstr>PowerPoint-Präsentation</vt:lpstr>
      <vt:lpstr>PowerPoint-Präsentation</vt:lpstr>
      <vt:lpstr>PowerPoint-Präsentation</vt:lpstr>
      <vt:lpstr>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portation and  Warehousing</dc:title>
  <dc:creator/>
  <cp:lastModifiedBy/>
  <cp:revision>3</cp:revision>
  <dcterms:created xsi:type="dcterms:W3CDTF">2019-11-20T06:49:43Z</dcterms:created>
  <dcterms:modified xsi:type="dcterms:W3CDTF">2019-12-18T15:39:58Z</dcterms:modified>
</cp:coreProperties>
</file>